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tags/tag18.xml" ContentType="application/vnd.openxmlformats-officedocument.presentationml.tags+xml"/>
  <Override PartName="/ppt/notesSlides/notesSlide20.xml" ContentType="application/vnd.openxmlformats-officedocument.presentationml.notesSlide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6"/>
  </p:notesMasterIdLst>
  <p:sldIdLst>
    <p:sldId id="269" r:id="rId5"/>
    <p:sldId id="297" r:id="rId6"/>
    <p:sldId id="266" r:id="rId7"/>
    <p:sldId id="429" r:id="rId8"/>
    <p:sldId id="430" r:id="rId9"/>
    <p:sldId id="415" r:id="rId10"/>
    <p:sldId id="432" r:id="rId11"/>
    <p:sldId id="433" r:id="rId12"/>
    <p:sldId id="434" r:id="rId13"/>
    <p:sldId id="442" r:id="rId14"/>
    <p:sldId id="435" r:id="rId15"/>
    <p:sldId id="419" r:id="rId16"/>
    <p:sldId id="436" r:id="rId17"/>
    <p:sldId id="437" r:id="rId18"/>
    <p:sldId id="408" r:id="rId19"/>
    <p:sldId id="443" r:id="rId20"/>
    <p:sldId id="439" r:id="rId21"/>
    <p:sldId id="440" r:id="rId22"/>
    <p:sldId id="444" r:id="rId23"/>
    <p:sldId id="441" r:id="rId24"/>
    <p:sldId id="445" r:id="rId25"/>
  </p:sldIdLst>
  <p:sldSz cx="9144000" cy="6858000" type="screen4x3"/>
  <p:notesSz cx="6735763" cy="9866313"/>
  <p:custDataLst>
    <p:tags r:id="rId2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0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FFFFFF"/>
    <a:srgbClr val="007864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58" autoAdjust="0"/>
    <p:restoredTop sz="82645" autoAdjust="0"/>
  </p:normalViewPr>
  <p:slideViewPr>
    <p:cSldViewPr snapToObjects="1">
      <p:cViewPr varScale="1">
        <p:scale>
          <a:sx n="56" d="100"/>
          <a:sy n="56" d="100"/>
        </p:scale>
        <p:origin x="1768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3/6/1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69D732-B678-EBB2-9023-4237E5EA69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3D790D-62D1-E846-7264-5CADE11A62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0131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833C55-E556-7C77-96F5-E46699BDDB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83798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F558625-1A70-B23B-7EB9-3892E55EBD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B615FAC-688D-FCEB-E3F2-B00E86B4F9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150497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D6625B5-867D-D6E3-593F-C7EEA6135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66213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8635869-16A8-CFC8-5915-A29CF72B9B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70557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357AC31-CA4C-E0D7-A944-76D3102299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698361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38D5E63-02F4-C407-BAEE-CE8A35BB12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147933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036CF58-BBF9-BCED-C661-3F436FC990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888796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24F5A2F-3D40-D0FD-FAE2-F65F22BA66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91623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3609E8A-210B-AED3-7AE9-38663D231E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D48565D-C43D-D149-1384-7F585F4238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783641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18B0CCB-0C93-CC10-E2AB-CF71DDB951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78605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ACA9AA2-6227-03DD-1BFB-4A1B606C55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FE78052-012C-17EA-8A6D-74E3F43665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90026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13D5BAB5-7BAC-529A-C44C-C687BD85AF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0101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F42E161-97AA-343D-1E13-81BC7851A4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03116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16BCE92-D3C9-9370-7AF3-516A04FFA5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88563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761A056-2D80-25AD-5DD2-DF9C4D6562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84681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13D33F3-0BAD-DB3B-C6AE-E8ECC5F887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09829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8" userDrawn="1">
          <p15:clr>
            <a:srgbClr val="FBAE40"/>
          </p15:clr>
        </p15:guide>
        <p15:guide id="24" pos="4353" userDrawn="1">
          <p15:clr>
            <a:srgbClr val="FBAE40"/>
          </p15:clr>
        </p15:guide>
        <p15:guide id="25" pos="2290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3107" userDrawn="1">
          <p15:clr>
            <a:srgbClr val="FBAE40"/>
          </p15:clr>
        </p15:guide>
        <p15:guide id="28" pos="4130" userDrawn="1">
          <p15:clr>
            <a:srgbClr val="FBAE40"/>
          </p15:clr>
        </p15:guide>
        <p15:guide id="29" pos="1630" userDrawn="1">
          <p15:clr>
            <a:srgbClr val="FBAE40"/>
          </p15:clr>
        </p15:guide>
        <p15:guide id="30" pos="3899" userDrawn="1">
          <p15:clr>
            <a:srgbClr val="FBAE40"/>
          </p15:clr>
        </p15:guide>
        <p15:guide id="31" pos="40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6/1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6/1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png"/><Relationship Id="rId12" Type="http://schemas.openxmlformats.org/officeDocument/2006/relationships/image" Target="../media/image3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3.png"/><Relationship Id="rId11" Type="http://schemas.openxmlformats.org/officeDocument/2006/relationships/image" Target="../media/image1.emf"/><Relationship Id="rId5" Type="http://schemas.openxmlformats.org/officeDocument/2006/relationships/image" Target="../media/image32.png"/><Relationship Id="rId10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6.png"/><Relationship Id="rId12" Type="http://schemas.openxmlformats.org/officeDocument/2006/relationships/image" Target="../media/image17.png"/><Relationship Id="rId2" Type="http://schemas.openxmlformats.org/officeDocument/2006/relationships/tags" Target="../tags/tag10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35.png"/><Relationship Id="rId11" Type="http://schemas.openxmlformats.org/officeDocument/2006/relationships/image" Target="../media/image1.emf"/><Relationship Id="rId5" Type="http://schemas.openxmlformats.org/officeDocument/2006/relationships/image" Target="../media/image34.png"/><Relationship Id="rId15" Type="http://schemas.openxmlformats.org/officeDocument/2006/relationships/image" Target="../media/image11.jpg"/><Relationship Id="rId10" Type="http://schemas.openxmlformats.org/officeDocument/2006/relationships/oleObject" Target="../embeddings/oleObject9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6.png"/><Relationship Id="rId1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41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11" Type="http://schemas.openxmlformats.org/officeDocument/2006/relationships/image" Target="../media/image40.jpeg"/><Relationship Id="rId5" Type="http://schemas.openxmlformats.org/officeDocument/2006/relationships/image" Target="../media/image5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13.xml"/><Relationship Id="rId9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0.jpe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4.jpeg"/><Relationship Id="rId5" Type="http://schemas.openxmlformats.org/officeDocument/2006/relationships/image" Target="../media/image40.jpe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5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12" Type="http://schemas.openxmlformats.org/officeDocument/2006/relationships/image" Target="../media/image4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48.PNG"/><Relationship Id="rId5" Type="http://schemas.openxmlformats.org/officeDocument/2006/relationships/image" Target="../media/image46.PNG"/><Relationship Id="rId10" Type="http://schemas.openxmlformats.org/officeDocument/2006/relationships/image" Target="../media/image47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6.png"/><Relationship Id="rId1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53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1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12" Type="http://schemas.openxmlformats.org/officeDocument/2006/relationships/image" Target="../media/image5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55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11.jp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7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5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11" Type="http://schemas.openxmlformats.org/officeDocument/2006/relationships/image" Target="../media/image9.jpeg"/><Relationship Id="rId5" Type="http://schemas.openxmlformats.org/officeDocument/2006/relationships/image" Target="../media/image5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4.xml"/><Relationship Id="rId9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png"/><Relationship Id="rId11" Type="http://schemas.openxmlformats.org/officeDocument/2006/relationships/image" Target="../media/image15.png"/><Relationship Id="rId5" Type="http://schemas.openxmlformats.org/officeDocument/2006/relationships/image" Target="../media/image12.png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11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10" Type="http://schemas.openxmlformats.org/officeDocument/2006/relationships/image" Target="../media/image19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8.jpeg"/><Relationship Id="rId1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jpeg"/><Relationship Id="rId12" Type="http://schemas.openxmlformats.org/officeDocument/2006/relationships/image" Target="../media/image2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png"/><Relationship Id="rId11" Type="http://schemas.openxmlformats.org/officeDocument/2006/relationships/image" Target="../media/image10.png"/><Relationship Id="rId5" Type="http://schemas.openxmlformats.org/officeDocument/2006/relationships/image" Target="../media/image21.jpe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7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11.jp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12" Type="http://schemas.openxmlformats.org/officeDocument/2006/relationships/image" Target="../media/image3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9.jpeg"/><Relationship Id="rId11" Type="http://schemas.openxmlformats.org/officeDocument/2006/relationships/image" Target="../media/image7.png"/><Relationship Id="rId5" Type="http://schemas.openxmlformats.org/officeDocument/2006/relationships/image" Target="../media/image28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30220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電話のかけ方・</a:t>
            </a:r>
            <a:endParaRPr lang="en-US" altLang="ja-JP" sz="4800" dirty="0">
              <a:solidFill>
                <a:schemeClr val="bg1"/>
              </a:solidFill>
            </a:endParaRPr>
          </a:p>
          <a:p>
            <a:r>
              <a:rPr lang="ja-JP" altLang="en-US" sz="4800" dirty="0">
                <a:solidFill>
                  <a:schemeClr val="bg1"/>
                </a:solidFill>
              </a:rPr>
              <a:t>カメラの使い方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うウサギ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図形グループ 7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90006" y="220542"/>
              <a:ext cx="1021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iPhone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61A59DC-6578-4E96-9D97-1AE244CCB7CC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0B7EB01B-3467-1876-9ACB-8B8AC2DABBCB}"/>
              </a:ext>
            </a:extLst>
          </p:cNvPr>
          <p:cNvGrpSpPr/>
          <p:nvPr/>
        </p:nvGrpSpPr>
        <p:grpSpPr>
          <a:xfrm>
            <a:off x="6343440" y="2716122"/>
            <a:ext cx="1934390" cy="3427934"/>
            <a:chOff x="8994046" y="2554463"/>
            <a:chExt cx="1934390" cy="3427934"/>
          </a:xfrm>
        </p:grpSpPr>
        <p:pic>
          <p:nvPicPr>
            <p:cNvPr id="9" name="図 8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868E504-D215-36D8-2F9B-9768285B5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94046" y="2554463"/>
              <a:ext cx="1934390" cy="342793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BE3DD369-A2A4-BD0B-B560-3B64356A6FFD}"/>
                </a:ext>
              </a:extLst>
            </p:cNvPr>
            <p:cNvSpPr/>
            <p:nvPr/>
          </p:nvSpPr>
          <p:spPr>
            <a:xfrm>
              <a:off x="9108504" y="2554463"/>
              <a:ext cx="248981" cy="12412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59D79FFD-F422-1B5F-4CB6-62A164799A38}"/>
              </a:ext>
            </a:extLst>
          </p:cNvPr>
          <p:cNvGrpSpPr/>
          <p:nvPr/>
        </p:nvGrpSpPr>
        <p:grpSpPr>
          <a:xfrm>
            <a:off x="3697164" y="2716122"/>
            <a:ext cx="1921281" cy="3405943"/>
            <a:chOff x="10141536" y="326043"/>
            <a:chExt cx="3855697" cy="6858000"/>
          </a:xfrm>
        </p:grpSpPr>
        <p:pic>
          <p:nvPicPr>
            <p:cNvPr id="11" name="図 10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9088972-CA57-36DD-0597-17282F46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41536" y="326043"/>
              <a:ext cx="3855697" cy="685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D438F321-80FB-191A-C556-22F8408A4A14}"/>
                </a:ext>
              </a:extLst>
            </p:cNvPr>
            <p:cNvSpPr/>
            <p:nvPr/>
          </p:nvSpPr>
          <p:spPr>
            <a:xfrm>
              <a:off x="10404648" y="332656"/>
              <a:ext cx="432048" cy="216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3" name="図形グループ 2" descr="「連絡先」画面の画像"/>
          <p:cNvGrpSpPr/>
          <p:nvPr/>
        </p:nvGrpSpPr>
        <p:grpSpPr>
          <a:xfrm>
            <a:off x="972735" y="2710691"/>
            <a:ext cx="1958127" cy="3420000"/>
            <a:chOff x="972735" y="2710691"/>
            <a:chExt cx="1958127" cy="3420000"/>
          </a:xfrm>
        </p:grpSpPr>
        <p:pic>
          <p:nvPicPr>
            <p:cNvPr id="46" name="図 45">
              <a:extLst>
                <a:ext uri="{FF2B5EF4-FFF2-40B4-BE49-F238E27FC236}">
                  <a16:creationId xmlns:a16="http://schemas.microsoft.com/office/drawing/2014/main" id="{A9649E69-45DC-4A64-96DA-B6B7347C2D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1295"/>
            <a:stretch/>
          </p:blipFill>
          <p:spPr>
            <a:xfrm>
              <a:off x="972735" y="2710691"/>
              <a:ext cx="1958127" cy="342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47" name="図 46">
              <a:extLst>
                <a:ext uri="{FF2B5EF4-FFF2-40B4-BE49-F238E27FC236}">
                  <a16:creationId xmlns:a16="http://schemas.microsoft.com/office/drawing/2014/main" id="{B780CC97-EE8C-4E67-A519-1229570A9B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3444" b="57248"/>
            <a:stretch/>
          </p:blipFill>
          <p:spPr>
            <a:xfrm>
              <a:off x="988725" y="3377822"/>
              <a:ext cx="1932071" cy="101550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48" name="図 47">
              <a:extLst>
                <a:ext uri="{FF2B5EF4-FFF2-40B4-BE49-F238E27FC236}">
                  <a16:creationId xmlns:a16="http://schemas.microsoft.com/office/drawing/2014/main" id="{37E2CE0B-2755-4425-9D2E-467E7520D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76240" y="2860463"/>
              <a:ext cx="1943037" cy="53786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52" name="図 51">
              <a:extLst>
                <a:ext uri="{FF2B5EF4-FFF2-40B4-BE49-F238E27FC236}">
                  <a16:creationId xmlns:a16="http://schemas.microsoft.com/office/drawing/2014/main" id="{77BAF789-1F32-4DD6-904A-25CEFF52A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94621" y="5873525"/>
              <a:ext cx="1926185" cy="248540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23597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/>
            </a:br>
            <a:r>
              <a:rPr lang="ja-JP" altLang="en-US"/>
              <a:t>新しく連絡先を登録する</a:t>
            </a:r>
            <a:endParaRPr lang="ja-JP" altLang="en-US" dirty="0"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940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に新しく連絡先を登録す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F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752110" y="5779434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2" y="1964942"/>
            <a:ext cx="27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右上にあ</a:t>
            </a:r>
            <a:r>
              <a:rPr lang="ja-JP" altLang="en-US" sz="1600" b="1" spc="-5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る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56617" y="1964942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連絡先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44476" y="187139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6" name="正方形/長方形 75"/>
          <p:cNvSpPr>
            <a:spLocks/>
          </p:cNvSpPr>
          <p:nvPr/>
        </p:nvSpPr>
        <p:spPr>
          <a:xfrm>
            <a:off x="6343440" y="3191229"/>
            <a:ext cx="1901548" cy="2682296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正方形/長方形 60"/>
          <p:cNvSpPr>
            <a:spLocks/>
          </p:cNvSpPr>
          <p:nvPr/>
        </p:nvSpPr>
        <p:spPr>
          <a:xfrm>
            <a:off x="7922468" y="2928318"/>
            <a:ext cx="360620" cy="22564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2" name="正方形/長方形 71"/>
          <p:cNvSpPr>
            <a:spLocks noChangeAspect="1"/>
          </p:cNvSpPr>
          <p:nvPr/>
        </p:nvSpPr>
        <p:spPr>
          <a:xfrm>
            <a:off x="5361637" y="2816190"/>
            <a:ext cx="243821" cy="243821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F533A07E-90BA-4FEB-B8CA-E106CCA90FD0}"/>
              </a:ext>
            </a:extLst>
          </p:cNvPr>
          <p:cNvSpPr txBox="1"/>
          <p:nvPr/>
        </p:nvSpPr>
        <p:spPr>
          <a:xfrm>
            <a:off x="6669211" y="3446738"/>
            <a:ext cx="16358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  <a:endParaRPr lang="en-US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87" name="図形グループ 86"/>
          <p:cNvGrpSpPr/>
          <p:nvPr/>
        </p:nvGrpSpPr>
        <p:grpSpPr>
          <a:xfrm>
            <a:off x="7674657" y="2696045"/>
            <a:ext cx="296586" cy="293005"/>
            <a:chOff x="4232441" y="3995693"/>
            <a:chExt cx="296586" cy="293005"/>
          </a:xfrm>
        </p:grpSpPr>
        <p:sp>
          <p:nvSpPr>
            <p:cNvPr id="88" name="円/楕円 8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9" name="フリーフォーム 8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0" name="図形グループ 89"/>
          <p:cNvGrpSpPr/>
          <p:nvPr/>
        </p:nvGrpSpPr>
        <p:grpSpPr>
          <a:xfrm>
            <a:off x="5035970" y="2597497"/>
            <a:ext cx="296586" cy="293005"/>
            <a:chOff x="3546641" y="3995693"/>
            <a:chExt cx="296586" cy="293005"/>
          </a:xfrm>
        </p:grpSpPr>
        <p:sp>
          <p:nvSpPr>
            <p:cNvPr id="91" name="円/楕円 9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フリーフォーム 9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3" name="図形グループ 92"/>
          <p:cNvGrpSpPr/>
          <p:nvPr/>
        </p:nvGrpSpPr>
        <p:grpSpPr>
          <a:xfrm>
            <a:off x="1596023" y="5623682"/>
            <a:ext cx="296587" cy="293005"/>
            <a:chOff x="2897417" y="3995693"/>
            <a:chExt cx="296587" cy="293005"/>
          </a:xfrm>
        </p:grpSpPr>
        <p:sp>
          <p:nvSpPr>
            <p:cNvPr id="94" name="円/楕円 9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5" name="テキスト ボックス 9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7" name="図 16">
            <a:extLst>
              <a:ext uri="{FF2B5EF4-FFF2-40B4-BE49-F238E27FC236}">
                <a16:creationId xmlns:a16="http://schemas.microsoft.com/office/drawing/2014/main" id="{92C6288B-B702-6E19-C539-4AAEC10CB8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1601" y="2718979"/>
            <a:ext cx="1959262" cy="121257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825921-D258-BBAA-E895-C90868E31658}"/>
              </a:ext>
            </a:extLst>
          </p:cNvPr>
          <p:cNvSpPr/>
          <p:nvPr/>
        </p:nvSpPr>
        <p:spPr>
          <a:xfrm>
            <a:off x="979141" y="2804271"/>
            <a:ext cx="1940136" cy="81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1BE85E22-1695-2D9E-CDEB-D4D3FC50E2BC}"/>
              </a:ext>
            </a:extLst>
          </p:cNvPr>
          <p:cNvSpPr txBox="1"/>
          <p:nvPr/>
        </p:nvSpPr>
        <p:spPr>
          <a:xfrm>
            <a:off x="6316206" y="1925138"/>
            <a:ext cx="2016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名前など登録したい内容を入力した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完了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C3209501-D429-B094-4415-06857F00FC27}"/>
              </a:ext>
            </a:extLst>
          </p:cNvPr>
          <p:cNvSpPr/>
          <p:nvPr/>
        </p:nvSpPr>
        <p:spPr>
          <a:xfrm>
            <a:off x="3135302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39CB41A1-2914-3797-2CE4-62B8018DA8DF}"/>
              </a:ext>
            </a:extLst>
          </p:cNvPr>
          <p:cNvSpPr/>
          <p:nvPr/>
        </p:nvSpPr>
        <p:spPr>
          <a:xfrm>
            <a:off x="5724128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62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16598251-CD45-0377-7016-5D3F36F773E5}"/>
              </a:ext>
            </a:extLst>
          </p:cNvPr>
          <p:cNvGrpSpPr/>
          <p:nvPr/>
        </p:nvGrpSpPr>
        <p:grpSpPr>
          <a:xfrm>
            <a:off x="4968216" y="3323144"/>
            <a:ext cx="1548000" cy="2914168"/>
            <a:chOff x="9915917" y="637232"/>
            <a:chExt cx="3855697" cy="6858000"/>
          </a:xfrm>
        </p:grpSpPr>
        <p:pic>
          <p:nvPicPr>
            <p:cNvPr id="12" name="図 11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3C19DB8-ECD1-7694-C8E7-8878D185A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15917" y="637232"/>
              <a:ext cx="3855697" cy="685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83D4B73B-C60C-8EA6-8D04-CDE1BD2948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1" r="71284" b="96280"/>
            <a:stretch/>
          </p:blipFill>
          <p:spPr>
            <a:xfrm>
              <a:off x="9917169" y="637232"/>
              <a:ext cx="1389675" cy="294203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B9FC41B4-1E7E-5228-2ADD-09899BF00A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267358" y="651510"/>
              <a:ext cx="641346" cy="192404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A13778E4-DCE5-E5D6-82F5-08F6922597E8}"/>
              </a:ext>
            </a:extLst>
          </p:cNvPr>
          <p:cNvGrpSpPr/>
          <p:nvPr/>
        </p:nvGrpSpPr>
        <p:grpSpPr>
          <a:xfrm>
            <a:off x="762324" y="3104704"/>
            <a:ext cx="1655874" cy="3240692"/>
            <a:chOff x="6948264" y="3086152"/>
            <a:chExt cx="1515397" cy="3060000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E8BE9F93-BC80-499B-D19C-E4B8F56B59F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948264" y="3086152"/>
              <a:ext cx="1515397" cy="3060000"/>
            </a:xfrm>
            <a:prstGeom prst="rect">
              <a:avLst/>
            </a:prstGeom>
          </p:spPr>
        </p:pic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0E95B8E0-5CB7-C9F0-CAB5-444BDEC51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34561" y="3423249"/>
              <a:ext cx="1329668" cy="236503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2603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着信履歴に残った通話先を使って連絡先に登録す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G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履歴」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登録したい人の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にあるⓘマークを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19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新規連絡先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作成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27004" y="1937819"/>
            <a:ext cx="201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名前など登録したい内容を入力した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完了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90968" y="192877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6" name="正方形/長方形 75"/>
          <p:cNvSpPr/>
          <p:nvPr/>
        </p:nvSpPr>
        <p:spPr>
          <a:xfrm>
            <a:off x="4972327" y="5229200"/>
            <a:ext cx="1548000" cy="22525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6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lang="ja-JP" altLang="en-US" dirty="0"/>
              <a:t>着信履歴に残った通話先を登録する</a:t>
            </a: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248661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正方形/長方形 86"/>
          <p:cNvSpPr>
            <a:spLocks noChangeAspect="1"/>
          </p:cNvSpPr>
          <p:nvPr/>
        </p:nvSpPr>
        <p:spPr>
          <a:xfrm>
            <a:off x="1080887" y="5628000"/>
            <a:ext cx="320760" cy="32076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" name="グループ化 4" descr="「電話」の「着信履歴」画面の一覧から登録したい人の右側にある「i」マークをタップしている画像">
            <a:extLst>
              <a:ext uri="{FF2B5EF4-FFF2-40B4-BE49-F238E27FC236}">
                <a16:creationId xmlns:a16="http://schemas.microsoft.com/office/drawing/2014/main" id="{F241FB42-FAB2-4E75-BF97-3BBD4F3AF2F7}"/>
              </a:ext>
            </a:extLst>
          </p:cNvPr>
          <p:cNvGrpSpPr/>
          <p:nvPr/>
        </p:nvGrpSpPr>
        <p:grpSpPr>
          <a:xfrm>
            <a:off x="2951090" y="3322824"/>
            <a:ext cx="2034055" cy="2914488"/>
            <a:chOff x="2951090" y="3222474"/>
            <a:chExt cx="2219650" cy="2914488"/>
          </a:xfrm>
        </p:grpSpPr>
        <p:grpSp>
          <p:nvGrpSpPr>
            <p:cNvPr id="9" name="図形グループ 8"/>
            <p:cNvGrpSpPr/>
            <p:nvPr/>
          </p:nvGrpSpPr>
          <p:grpSpPr>
            <a:xfrm>
              <a:off x="2951090" y="3222474"/>
              <a:ext cx="1648949" cy="2914488"/>
              <a:chOff x="2951090" y="3222474"/>
              <a:chExt cx="1648949" cy="2914488"/>
            </a:xfrm>
          </p:grpSpPr>
          <p:pic>
            <p:nvPicPr>
              <p:cNvPr id="70" name="図 69">
                <a:extLst>
                  <a:ext uri="{FF2B5EF4-FFF2-40B4-BE49-F238E27FC236}">
                    <a16:creationId xmlns:a16="http://schemas.microsoft.com/office/drawing/2014/main" id="{0547DE35-E48B-49CE-930E-E421C580C1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b="1295"/>
              <a:stretch/>
            </p:blipFill>
            <p:spPr>
              <a:xfrm>
                <a:off x="2951090" y="3222474"/>
                <a:ext cx="1648949" cy="2914488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71" name="図 70">
                <a:extLst>
                  <a:ext uri="{FF2B5EF4-FFF2-40B4-BE49-F238E27FC236}">
                    <a16:creationId xmlns:a16="http://schemas.microsoft.com/office/drawing/2014/main" id="{83AEB388-6EB1-435D-B380-C64369564C4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t="13444" b="57248"/>
              <a:stretch/>
            </p:blipFill>
            <p:spPr>
              <a:xfrm>
                <a:off x="2959513" y="3818437"/>
                <a:ext cx="1627007" cy="855162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3" name="図 72">
                <a:extLst>
                  <a:ext uri="{FF2B5EF4-FFF2-40B4-BE49-F238E27FC236}">
                    <a16:creationId xmlns:a16="http://schemas.microsoft.com/office/drawing/2014/main" id="{7DAEC446-2EB9-4170-9DC3-73A41CF9E5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955388" y="3382766"/>
                <a:ext cx="1636242" cy="45293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4" name="図 73">
                <a:extLst>
                  <a:ext uri="{FF2B5EF4-FFF2-40B4-BE49-F238E27FC236}">
                    <a16:creationId xmlns:a16="http://schemas.microsoft.com/office/drawing/2014/main" id="{1D5E0342-EBEF-4B05-A2AA-1E3C82B48F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956701" y="5920137"/>
                <a:ext cx="1638000" cy="211355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07" name="正方形/長方形 106"/>
            <p:cNvSpPr>
              <a:spLocks noChangeAspect="1"/>
            </p:cNvSpPr>
            <p:nvPr/>
          </p:nvSpPr>
          <p:spPr>
            <a:xfrm>
              <a:off x="4322473" y="4365050"/>
              <a:ext cx="360000" cy="360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7" name="図 56"/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4467920" y="4546151"/>
              <a:ext cx="473301" cy="540000"/>
            </a:xfrm>
            <a:prstGeom prst="rect">
              <a:avLst/>
            </a:prstGeom>
          </p:spPr>
        </p:pic>
        <p:grpSp>
          <p:nvGrpSpPr>
            <p:cNvPr id="66" name="図形グループ 65"/>
            <p:cNvGrpSpPr/>
            <p:nvPr/>
          </p:nvGrpSpPr>
          <p:grpSpPr>
            <a:xfrm>
              <a:off x="4829731" y="5021650"/>
              <a:ext cx="341009" cy="374512"/>
              <a:chOff x="5102352" y="3913483"/>
              <a:chExt cx="341009" cy="374512"/>
            </a:xfrm>
          </p:grpSpPr>
          <p:sp>
            <p:nvSpPr>
              <p:cNvPr id="69" name="円/楕円 68"/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5" name="フリーフォーム 74"/>
              <p:cNvSpPr/>
              <p:nvPr/>
            </p:nvSpPr>
            <p:spPr>
              <a:xfrm>
                <a:off x="5146775" y="391348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78" name="図形グループ 77"/>
            <p:cNvGrpSpPr/>
            <p:nvPr/>
          </p:nvGrpSpPr>
          <p:grpSpPr>
            <a:xfrm>
              <a:off x="4171484" y="4213205"/>
              <a:ext cx="296586" cy="293005"/>
              <a:chOff x="4232441" y="3995693"/>
              <a:chExt cx="296586" cy="293005"/>
            </a:xfrm>
          </p:grpSpPr>
          <p:sp>
            <p:nvSpPr>
              <p:cNvPr id="81" name="円/楕円 80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4" name="フリーフォーム 83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89" name="図形グループ 88"/>
          <p:cNvGrpSpPr/>
          <p:nvPr/>
        </p:nvGrpSpPr>
        <p:grpSpPr>
          <a:xfrm>
            <a:off x="851233" y="5373216"/>
            <a:ext cx="296587" cy="293005"/>
            <a:chOff x="2897417" y="3995693"/>
            <a:chExt cx="296587" cy="293005"/>
          </a:xfrm>
        </p:grpSpPr>
        <p:sp>
          <p:nvSpPr>
            <p:cNvPr id="90" name="円/楕円 8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1" name="テキスト ボックス 9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DA1AD900-6240-A37D-5B62-20D1C089D2E3}"/>
              </a:ext>
            </a:extLst>
          </p:cNvPr>
          <p:cNvGrpSpPr/>
          <p:nvPr/>
        </p:nvGrpSpPr>
        <p:grpSpPr>
          <a:xfrm>
            <a:off x="7054180" y="3323144"/>
            <a:ext cx="1548000" cy="2914168"/>
            <a:chOff x="7020272" y="3323144"/>
            <a:chExt cx="1548000" cy="2914168"/>
          </a:xfrm>
        </p:grpSpPr>
        <p:pic>
          <p:nvPicPr>
            <p:cNvPr id="65" name="図 64" descr="「新規連絡先」登録画面の画像">
              <a:extLst>
                <a:ext uri="{FF2B5EF4-FFF2-40B4-BE49-F238E27FC236}">
                  <a16:creationId xmlns:a16="http://schemas.microsoft.com/office/drawing/2014/main" id="{B7199DB2-6360-4EA4-AECD-68D71A5C9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0272" y="3323144"/>
              <a:ext cx="1548000" cy="2914168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43EC2B61-915F-CE0C-1B7D-0CBD22EF3C1B}"/>
                </a:ext>
              </a:extLst>
            </p:cNvPr>
            <p:cNvSpPr/>
            <p:nvPr/>
          </p:nvSpPr>
          <p:spPr>
            <a:xfrm>
              <a:off x="7116095" y="3330411"/>
              <a:ext cx="234000" cy="857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99" name="正方形/長方形 98"/>
          <p:cNvSpPr>
            <a:spLocks/>
          </p:cNvSpPr>
          <p:nvPr/>
        </p:nvSpPr>
        <p:spPr>
          <a:xfrm>
            <a:off x="7035283" y="4002738"/>
            <a:ext cx="1548000" cy="108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22" name="正方形/長方形 121"/>
          <p:cNvSpPr>
            <a:spLocks noChangeAspect="1"/>
          </p:cNvSpPr>
          <p:nvPr/>
        </p:nvSpPr>
        <p:spPr>
          <a:xfrm>
            <a:off x="8298537" y="3369524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8" name="図形グループ 57"/>
          <p:cNvGrpSpPr/>
          <p:nvPr/>
        </p:nvGrpSpPr>
        <p:grpSpPr>
          <a:xfrm>
            <a:off x="8152642" y="3220859"/>
            <a:ext cx="296586" cy="293005"/>
            <a:chOff x="587836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B588B247-E4C4-F2EF-3C53-618EF0FB9286}"/>
              </a:ext>
            </a:extLst>
          </p:cNvPr>
          <p:cNvSpPr>
            <a:spLocks noChangeAspect="1"/>
          </p:cNvSpPr>
          <p:nvPr/>
        </p:nvSpPr>
        <p:spPr>
          <a:xfrm>
            <a:off x="3236458" y="5971509"/>
            <a:ext cx="329899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4" name="図形グループ 75">
            <a:extLst>
              <a:ext uri="{FF2B5EF4-FFF2-40B4-BE49-F238E27FC236}">
                <a16:creationId xmlns:a16="http://schemas.microsoft.com/office/drawing/2014/main" id="{27371D19-41C7-AD19-2388-227A7168D9CA}"/>
              </a:ext>
            </a:extLst>
          </p:cNvPr>
          <p:cNvGrpSpPr/>
          <p:nvPr/>
        </p:nvGrpSpPr>
        <p:grpSpPr>
          <a:xfrm>
            <a:off x="3051278" y="5728283"/>
            <a:ext cx="296586" cy="293005"/>
            <a:chOff x="3546641" y="3995693"/>
            <a:chExt cx="296586" cy="293005"/>
          </a:xfrm>
        </p:grpSpPr>
        <p:sp>
          <p:nvSpPr>
            <p:cNvPr id="35" name="円/楕円 78">
              <a:extLst>
                <a:ext uri="{FF2B5EF4-FFF2-40B4-BE49-F238E27FC236}">
                  <a16:creationId xmlns:a16="http://schemas.microsoft.com/office/drawing/2014/main" id="{083BB2B9-1E08-EE2E-865A-E133B72BC3A1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フリーフォーム 79">
              <a:extLst>
                <a:ext uri="{FF2B5EF4-FFF2-40B4-BE49-F238E27FC236}">
                  <a16:creationId xmlns:a16="http://schemas.microsoft.com/office/drawing/2014/main" id="{DE86C208-9BA5-9132-2710-40AB94F93066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BD0CC473-5E66-CE2A-4292-4C966F979C4C}"/>
              </a:ext>
            </a:extLst>
          </p:cNvPr>
          <p:cNvSpPr txBox="1"/>
          <p:nvPr/>
        </p:nvSpPr>
        <p:spPr>
          <a:xfrm>
            <a:off x="7207151" y="4077693"/>
            <a:ext cx="16358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  <a:endParaRPr lang="en-US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1B5E6604-F370-6522-23A8-502563099EE1}"/>
              </a:ext>
            </a:extLst>
          </p:cNvPr>
          <p:cNvSpPr/>
          <p:nvPr/>
        </p:nvSpPr>
        <p:spPr>
          <a:xfrm>
            <a:off x="2483768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0" name="矢印: 右 39">
            <a:extLst>
              <a:ext uri="{FF2B5EF4-FFF2-40B4-BE49-F238E27FC236}">
                <a16:creationId xmlns:a16="http://schemas.microsoft.com/office/drawing/2014/main" id="{C31465DC-F41A-8F8E-04E2-31A718E8A4C4}"/>
              </a:ext>
            </a:extLst>
          </p:cNvPr>
          <p:cNvSpPr/>
          <p:nvPr/>
        </p:nvSpPr>
        <p:spPr>
          <a:xfrm>
            <a:off x="4572000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1" name="矢印: 右 40">
            <a:extLst>
              <a:ext uri="{FF2B5EF4-FFF2-40B4-BE49-F238E27FC236}">
                <a16:creationId xmlns:a16="http://schemas.microsoft.com/office/drawing/2014/main" id="{9E6951AD-5165-65B2-B9A4-9BFC26768F68}"/>
              </a:ext>
            </a:extLst>
          </p:cNvPr>
          <p:cNvSpPr/>
          <p:nvPr/>
        </p:nvSpPr>
        <p:spPr>
          <a:xfrm>
            <a:off x="6588224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2827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カメラの使い方</a:t>
            </a:r>
          </a:p>
        </p:txBody>
      </p:sp>
      <p:pic>
        <p:nvPicPr>
          <p:cNvPr id="4" name="Picture 2" descr="料理の写真を撮影する人のイラスト">
            <a:extLst>
              <a:ext uri="{FF2B5EF4-FFF2-40B4-BE49-F238E27FC236}">
                <a16:creationId xmlns:a16="http://schemas.microsoft.com/office/drawing/2014/main" id="{C400815E-9777-424A-90C9-E3FEE55E5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9" y="3756024"/>
            <a:ext cx="1656000" cy="15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36392C2D-37AD-CC54-189C-5BEBDA803517}"/>
              </a:ext>
            </a:extLst>
          </p:cNvPr>
          <p:cNvGrpSpPr/>
          <p:nvPr/>
        </p:nvGrpSpPr>
        <p:grpSpPr>
          <a:xfrm>
            <a:off x="2987824" y="2697302"/>
            <a:ext cx="1857910" cy="3468002"/>
            <a:chOff x="963093" y="2708920"/>
            <a:chExt cx="1683367" cy="3456000"/>
          </a:xfrm>
        </p:grpSpPr>
        <p:grpSp>
          <p:nvGrpSpPr>
            <p:cNvPr id="35" name="グループ化 13">
              <a:extLst>
                <a:ext uri="{FF2B5EF4-FFF2-40B4-BE49-F238E27FC236}">
                  <a16:creationId xmlns:a16="http://schemas.microsoft.com/office/drawing/2014/main" id="{A59693BF-878E-FA81-0A72-D920DC196DA0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44" name="図 43">
                <a:extLst>
                  <a:ext uri="{FF2B5EF4-FFF2-40B4-BE49-F238E27FC236}">
                    <a16:creationId xmlns:a16="http://schemas.microsoft.com/office/drawing/2014/main" id="{C15AB5C2-456A-6B7F-2A00-7DAA48F23F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53D183A2-4FEC-04A7-73CA-849E3237A448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BB1197FB-1415-8B9C-FC11-97D9B74D7014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37" name="図 36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F26A01F9-6045-8258-63F6-6A0E6CCCC5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39" name="図 38">
                <a:extLst>
                  <a:ext uri="{FF2B5EF4-FFF2-40B4-BE49-F238E27FC236}">
                    <a16:creationId xmlns:a16="http://schemas.microsoft.com/office/drawing/2014/main" id="{1AB10383-AFB9-22E3-F9CA-36709FE8D7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pic>
        <p:nvPicPr>
          <p:cNvPr id="59" name="図 58" descr="ズームされて撮影した写真の画像">
            <a:extLst>
              <a:ext uri="{FF2B5EF4-FFF2-40B4-BE49-F238E27FC236}">
                <a16:creationId xmlns:a16="http://schemas.microsoft.com/office/drawing/2014/main" id="{EA8CD051-7F78-40E0-B6A2-148AB95462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64136" y="2366143"/>
            <a:ext cx="1307355" cy="1646606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写真を撮ろ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23528" y="2422741"/>
            <a:ext cx="2880000" cy="374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マーク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spc="-15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撮影したいものに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向けます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lvl="0">
              <a:lnSpc>
                <a:spcPct val="90000"/>
              </a:lnSpc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を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2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本の指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広げるとズーム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することが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6882" y="1499858"/>
            <a:ext cx="8280000" cy="1158260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en-US" altLang="ja-JP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2000" dirty="0"/>
              <a:t>カメラ」機能では、自分を撮影できる前面カメラと背面カメラで</a:t>
            </a:r>
            <a:endParaRPr lang="en-US" altLang="ja-JP" sz="2000" dirty="0"/>
          </a:p>
          <a:p>
            <a:pPr>
              <a:lnSpc>
                <a:spcPct val="50000"/>
              </a:lnSpc>
            </a:pPr>
            <a:r>
              <a:rPr lang="ja-JP" altLang="en-US" sz="2000" dirty="0"/>
              <a:t>写真の撮影ができます。</a:t>
            </a:r>
            <a:endParaRPr lang="en-US" altLang="ja-JP" sz="2000" dirty="0"/>
          </a:p>
          <a:p>
            <a:pPr>
              <a:lnSpc>
                <a:spcPct val="50000"/>
              </a:lnSpc>
            </a:pPr>
            <a:r>
              <a:rPr lang="ja-JP" altLang="en-US" sz="2000" dirty="0"/>
              <a:t>撮影した写真・動画などは、「写真」の中に保存されます。</a:t>
            </a:r>
          </a:p>
        </p:txBody>
      </p:sp>
      <p:pic>
        <p:nvPicPr>
          <p:cNvPr id="34" name="図 33">
            <a:extLst>
              <a:ext uri="{FF2B5EF4-FFF2-40B4-BE49-F238E27FC236}">
                <a16:creationId xmlns:a16="http://schemas.microsoft.com/office/drawing/2014/main" id="{866B1B58-3AF5-4C71-827A-7661979C49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33765" y="2710031"/>
            <a:ext cx="1840670" cy="3420000"/>
          </a:xfrm>
          <a:prstGeom prst="rect">
            <a:avLst/>
          </a:prstGeom>
        </p:spPr>
      </p:pic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6037560" y="5697472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AA713D09-6229-42C4-A5C8-0491EB742D7C}"/>
              </a:ext>
            </a:extLst>
          </p:cNvPr>
          <p:cNvSpPr txBox="1"/>
          <p:nvPr/>
        </p:nvSpPr>
        <p:spPr>
          <a:xfrm>
            <a:off x="6160456" y="6130800"/>
            <a:ext cx="141577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endParaRPr lang="ja-JP" altLang="en-US" sz="12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7141580" y="4231022"/>
            <a:ext cx="296586" cy="300847"/>
            <a:chOff x="9726070" y="5852342"/>
            <a:chExt cx="296586" cy="300847"/>
          </a:xfrm>
        </p:grpSpPr>
        <p:sp>
          <p:nvSpPr>
            <p:cNvPr id="41" name="円/楕円 40"/>
            <p:cNvSpPr/>
            <p:nvPr/>
          </p:nvSpPr>
          <p:spPr>
            <a:xfrm>
              <a:off x="9731056" y="5852342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9726070" y="5860184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5930537" y="5992666"/>
            <a:ext cx="296586" cy="293005"/>
            <a:chOff x="42324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フリーフォーム 6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4682350" y="3190524"/>
            <a:ext cx="296587" cy="293005"/>
            <a:chOff x="2897417" y="3995693"/>
            <a:chExt cx="296587" cy="293005"/>
          </a:xfrm>
        </p:grpSpPr>
        <p:sp>
          <p:nvSpPr>
            <p:cNvPr id="68" name="円/楕円 6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9" name="テキスト ボックス 6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4271442" y="3476004"/>
            <a:ext cx="432000" cy="432000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1DED428-442D-083C-55AD-04A02CEDF8F1}"/>
              </a:ext>
            </a:extLst>
          </p:cNvPr>
          <p:cNvCxnSpPr>
            <a:cxnSpLocks/>
          </p:cNvCxnSpPr>
          <p:nvPr/>
        </p:nvCxnSpPr>
        <p:spPr>
          <a:xfrm flipH="1">
            <a:off x="6093379" y="2366143"/>
            <a:ext cx="1370757" cy="143408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>
            <a:extLst>
              <a:ext uri="{FF2B5EF4-FFF2-40B4-BE49-F238E27FC236}">
                <a16:creationId xmlns:a16="http://schemas.microsoft.com/office/drawing/2014/main" id="{C44C8FF4-D890-AC2B-F4BE-071DEACC7826}"/>
              </a:ext>
            </a:extLst>
          </p:cNvPr>
          <p:cNvCxnSpPr>
            <a:cxnSpLocks/>
          </p:cNvCxnSpPr>
          <p:nvPr/>
        </p:nvCxnSpPr>
        <p:spPr>
          <a:xfrm flipH="1">
            <a:off x="6602312" y="4012749"/>
            <a:ext cx="905678" cy="4243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F6CD50AF-A35F-8B53-AD56-9BF168043464}"/>
              </a:ext>
            </a:extLst>
          </p:cNvPr>
          <p:cNvSpPr/>
          <p:nvPr/>
        </p:nvSpPr>
        <p:spPr>
          <a:xfrm>
            <a:off x="6061888" y="3799022"/>
            <a:ext cx="548449" cy="63809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102" y="4310872"/>
            <a:ext cx="1106068" cy="1080000"/>
          </a:xfrm>
          <a:prstGeom prst="rect">
            <a:avLst/>
          </a:prstGeom>
        </p:spPr>
      </p:pic>
      <p:sp>
        <p:nvSpPr>
          <p:cNvPr id="46" name="矢印: 右 45">
            <a:extLst>
              <a:ext uri="{FF2B5EF4-FFF2-40B4-BE49-F238E27FC236}">
                <a16:creationId xmlns:a16="http://schemas.microsoft.com/office/drawing/2014/main" id="{9B602558-CA93-B718-9DF4-DD5921421CDF}"/>
              </a:ext>
            </a:extLst>
          </p:cNvPr>
          <p:cNvSpPr/>
          <p:nvPr/>
        </p:nvSpPr>
        <p:spPr>
          <a:xfrm>
            <a:off x="4860032" y="3933056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1">
            <a:extLst>
              <a:ext uri="{FF2B5EF4-FFF2-40B4-BE49-F238E27FC236}">
                <a16:creationId xmlns:a16="http://schemas.microsoft.com/office/drawing/2014/main" id="{E1E63B11-88CA-BFB6-D4C4-16E82D4BA3FF}"/>
              </a:ext>
            </a:extLst>
          </p:cNvPr>
          <p:cNvSpPr txBox="1"/>
          <p:nvPr/>
        </p:nvSpPr>
        <p:spPr>
          <a:xfrm>
            <a:off x="7246886" y="713008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28782751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「前面カメラ」画面の画像">
            <a:extLst>
              <a:ext uri="{FF2B5EF4-FFF2-40B4-BE49-F238E27FC236}">
                <a16:creationId xmlns:a16="http://schemas.microsoft.com/office/drawing/2014/main" id="{866B1B58-3AF5-4C71-827A-7661979C49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4522" y="2350760"/>
            <a:ext cx="2130058" cy="3780000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自撮りをしてみよ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BD7B8115-1923-40C8-B4EE-4A3B07578796}"/>
              </a:ext>
            </a:extLst>
          </p:cNvPr>
          <p:cNvSpPr/>
          <p:nvPr/>
        </p:nvSpPr>
        <p:spPr>
          <a:xfrm>
            <a:off x="4434939" y="5587800"/>
            <a:ext cx="540000" cy="54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86383" y="1821510"/>
            <a:ext cx="29520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回転する矢印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カメラの向き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背面から前面に変えます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スマートフォンを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やや斜め上にあげ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上手く撮れます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シャッターボタン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298" y="1399499"/>
            <a:ext cx="8280000" cy="360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ja-JP" altLang="en-US" dirty="0"/>
              <a:t>前面カメラを使って自撮りをしてみましょう。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5298473" y="5652670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3" name="Picture 2" descr="スマホで撮影する人のイラスト（男性）">
            <a:extLst>
              <a:ext uri="{FF2B5EF4-FFF2-40B4-BE49-F238E27FC236}">
                <a16:creationId xmlns:a16="http://schemas.microsoft.com/office/drawing/2014/main" id="{A1573722-66B5-45F1-8F09-A60AEF09D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303" y="2736559"/>
            <a:ext cx="1615499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矢印: 左右 71">
            <a:extLst>
              <a:ext uri="{FF2B5EF4-FFF2-40B4-BE49-F238E27FC236}">
                <a16:creationId xmlns:a16="http://schemas.microsoft.com/office/drawing/2014/main" id="{FF7FDF66-0A51-4DB0-9554-9FF2FC292A51}"/>
              </a:ext>
            </a:extLst>
          </p:cNvPr>
          <p:cNvSpPr/>
          <p:nvPr/>
        </p:nvSpPr>
        <p:spPr>
          <a:xfrm rot="9619041">
            <a:off x="6791894" y="2461866"/>
            <a:ext cx="762219" cy="382947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effectLst>
                <a:glow rad="25400">
                  <a:schemeClr val="bg1"/>
                </a:glow>
              </a:effectLst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0" name="四角形: 角を丸くする 4">
            <a:extLst>
              <a:ext uri="{FF2B5EF4-FFF2-40B4-BE49-F238E27FC236}">
                <a16:creationId xmlns:a16="http://schemas.microsoft.com/office/drawing/2014/main" id="{B3FC90CD-20E3-4B0C-9281-2836DEBC4D18}"/>
              </a:ext>
            </a:extLst>
          </p:cNvPr>
          <p:cNvSpPr/>
          <p:nvPr/>
        </p:nvSpPr>
        <p:spPr>
          <a:xfrm>
            <a:off x="5956094" y="4941320"/>
            <a:ext cx="2404135" cy="1368000"/>
          </a:xfrm>
          <a:prstGeom prst="roundRect">
            <a:avLst>
              <a:gd name="adj" fmla="val 11230"/>
            </a:avLst>
          </a:prstGeom>
          <a:noFill/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更新状況が古い機種ではカメラの前面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/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背面を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切り替えるアイコン形状は以下の場合があります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28D6291D-D7EC-4CF6-B91B-B3FBC63E8635}"/>
              </a:ext>
            </a:extLst>
          </p:cNvPr>
          <p:cNvSpPr/>
          <p:nvPr/>
        </p:nvSpPr>
        <p:spPr>
          <a:xfrm>
            <a:off x="6080719" y="4595149"/>
            <a:ext cx="8382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’</a:t>
            </a:r>
          </a:p>
        </p:txBody>
      </p:sp>
      <p:grpSp>
        <p:nvGrpSpPr>
          <p:cNvPr id="32" name="図形グループ 31"/>
          <p:cNvGrpSpPr/>
          <p:nvPr/>
        </p:nvGrpSpPr>
        <p:grpSpPr>
          <a:xfrm>
            <a:off x="4283968" y="5440251"/>
            <a:ext cx="296586" cy="293005"/>
            <a:chOff x="4232441" y="3995693"/>
            <a:chExt cx="296586" cy="293005"/>
          </a:xfrm>
        </p:grpSpPr>
        <p:sp>
          <p:nvSpPr>
            <p:cNvPr id="34" name="円/楕円 33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フリーフォーム 34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6" name="図形グループ 35"/>
          <p:cNvGrpSpPr/>
          <p:nvPr/>
        </p:nvGrpSpPr>
        <p:grpSpPr>
          <a:xfrm>
            <a:off x="7083726" y="2348880"/>
            <a:ext cx="296586" cy="293005"/>
            <a:chOff x="3546641" y="3995693"/>
            <a:chExt cx="296586" cy="293005"/>
          </a:xfrm>
        </p:grpSpPr>
        <p:sp>
          <p:nvSpPr>
            <p:cNvPr id="37" name="円/楕円 3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フリーフォーム 3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41"/>
          <p:cNvGrpSpPr/>
          <p:nvPr/>
        </p:nvGrpSpPr>
        <p:grpSpPr>
          <a:xfrm>
            <a:off x="5156453" y="5503870"/>
            <a:ext cx="296587" cy="293005"/>
            <a:chOff x="2897417" y="3995693"/>
            <a:chExt cx="296587" cy="293005"/>
          </a:xfrm>
        </p:grpSpPr>
        <p:sp>
          <p:nvSpPr>
            <p:cNvPr id="48" name="円/楕円 4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テキスト ボックス 4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5934350" y="4745736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2" name="テキスト ボックス 5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7D541997-8A26-8DF0-C1A5-559585F9461C}"/>
              </a:ext>
            </a:extLst>
          </p:cNvPr>
          <p:cNvGrpSpPr/>
          <p:nvPr/>
        </p:nvGrpSpPr>
        <p:grpSpPr>
          <a:xfrm>
            <a:off x="6915859" y="5860341"/>
            <a:ext cx="420746" cy="396230"/>
            <a:chOff x="9163556" y="5652670"/>
            <a:chExt cx="484604" cy="478090"/>
          </a:xfrm>
        </p:grpSpPr>
        <p:sp>
          <p:nvSpPr>
            <p:cNvPr id="13" name="楕円 12">
              <a:extLst>
                <a:ext uri="{FF2B5EF4-FFF2-40B4-BE49-F238E27FC236}">
                  <a16:creationId xmlns:a16="http://schemas.microsoft.com/office/drawing/2014/main" id="{227FBC84-C45D-EFC4-7879-9E17977B0B14}"/>
                </a:ext>
              </a:extLst>
            </p:cNvPr>
            <p:cNvSpPr/>
            <p:nvPr/>
          </p:nvSpPr>
          <p:spPr>
            <a:xfrm>
              <a:off x="9163556" y="5652670"/>
              <a:ext cx="484604" cy="47809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778E8EDA-E25A-9DB0-E526-E6ADDA8A1E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31828" y="5734530"/>
              <a:ext cx="352474" cy="314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77853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図形グループ 1"/>
          <p:cNvGrpSpPr>
            <a:grpSpLocks noChangeAspect="1"/>
          </p:cNvGrpSpPr>
          <p:nvPr/>
        </p:nvGrpSpPr>
        <p:grpSpPr>
          <a:xfrm>
            <a:off x="4530656" y="2708920"/>
            <a:ext cx="1927198" cy="3420000"/>
            <a:chOff x="5422900" y="3022331"/>
            <a:chExt cx="2100565" cy="3727657"/>
          </a:xfrm>
        </p:grpSpPr>
        <p:pic>
          <p:nvPicPr>
            <p:cNvPr id="103" name="図 102">
              <a:extLst>
                <a:ext uri="{FF2B5EF4-FFF2-40B4-BE49-F238E27FC236}">
                  <a16:creationId xmlns:a16="http://schemas.microsoft.com/office/drawing/2014/main" id="{86ED2EB9-BBA7-4206-9BCB-DFF4E9109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22900" y="3022331"/>
              <a:ext cx="2100565" cy="3727657"/>
            </a:xfrm>
            <a:prstGeom prst="rect">
              <a:avLst/>
            </a:prstGeom>
          </p:spPr>
        </p:pic>
        <p:pic>
          <p:nvPicPr>
            <p:cNvPr id="104" name="図 103" descr="グラフィカル ユーザー インターフェイス&#10;&#10;中程度の精度で自動的に生成された説明">
              <a:extLst>
                <a:ext uri="{FF2B5EF4-FFF2-40B4-BE49-F238E27FC236}">
                  <a16:creationId xmlns:a16="http://schemas.microsoft.com/office/drawing/2014/main" id="{6FA306C8-35E1-442C-9845-B8E7B3E24C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026" b="13898"/>
            <a:stretch/>
          </p:blipFill>
          <p:spPr>
            <a:xfrm>
              <a:off x="5422900" y="5887877"/>
              <a:ext cx="2100565" cy="376444"/>
            </a:xfrm>
            <a:prstGeom prst="rect">
              <a:avLst/>
            </a:prstGeom>
          </p:spPr>
        </p:pic>
      </p:grpSp>
      <p:pic>
        <p:nvPicPr>
          <p:cNvPr id="102" name="図 101" descr="「カメラ」の画面の画像">
            <a:extLst>
              <a:ext uri="{FF2B5EF4-FFF2-40B4-BE49-F238E27FC236}">
                <a16:creationId xmlns:a16="http://schemas.microsoft.com/office/drawing/2014/main" id="{836F66B1-E1CD-4DF8-B8D2-60DFAFAC31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7986" y="2708920"/>
            <a:ext cx="1927198" cy="3420000"/>
          </a:xfrm>
          <a:prstGeom prst="rect">
            <a:avLst/>
          </a:prstGeom>
        </p:spPr>
      </p:pic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968" y="1392371"/>
            <a:ext cx="8280000" cy="396000"/>
          </a:xfrm>
        </p:spPr>
        <p:txBody>
          <a:bodyPr>
            <a:noAutofit/>
          </a:bodyPr>
          <a:lstStyle/>
          <a:p>
            <a:pPr marL="8975">
              <a:lnSpc>
                <a:spcPct val="100000"/>
              </a:lnSpc>
            </a:pP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iPhone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の操作アイコ</a:t>
            </a:r>
            <a:r>
              <a:rPr lang="ja-JP" altLang="en-US" spc="-100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ン</a:t>
            </a:r>
            <a:r>
              <a:rPr lang="ja-JP" altLang="en-US" b="0" dirty="0"/>
              <a:t>［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iOS13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以降の機種の場合</a:t>
            </a:r>
            <a:r>
              <a:rPr lang="ja-JP" altLang="en-US" b="0" dirty="0"/>
              <a:t>］</a:t>
            </a:r>
            <a:endParaRPr lang="en-US" altLang="ja-JP" b="0" dirty="0"/>
          </a:p>
          <a:p>
            <a:pPr marL="8975">
              <a:lnSpc>
                <a:spcPct val="100000"/>
              </a:lnSpc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2617674" y="2636960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さまざまな操作機能</a:t>
            </a:r>
          </a:p>
        </p:txBody>
      </p:sp>
      <p:sp>
        <p:nvSpPr>
          <p:cNvPr id="82" name="正方形/長方形 8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1945621" y="5708089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29413" y="1944540"/>
            <a:ext cx="270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もう一度同じ場所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戻ります</a:t>
            </a:r>
          </a:p>
        </p:txBody>
      </p:sp>
      <p:sp>
        <p:nvSpPr>
          <p:cNvPr id="99" name="テキスト ボックス 9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323767" y="187111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0" name="テキスト ボックス 9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018604" y="187111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1" name="テキスト ボックス 10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758298" y="1944540"/>
            <a:ext cx="2448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色々な機能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下部に表示されます</a:t>
            </a:r>
          </a:p>
        </p:txBody>
      </p:sp>
      <p:sp>
        <p:nvSpPr>
          <p:cNvPr id="105" name="正方形/長方形 104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5289236" y="2629969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9" name="正方形/長方形 108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1877986" y="5487168"/>
            <a:ext cx="1927198" cy="174289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" name="カギ線コネクタ 5"/>
          <p:cNvCxnSpPr>
            <a:cxnSpLocks/>
          </p:cNvCxnSpPr>
          <p:nvPr/>
        </p:nvCxnSpPr>
        <p:spPr>
          <a:xfrm rot="5400000" flipH="1" flipV="1">
            <a:off x="4371507" y="2845607"/>
            <a:ext cx="2923674" cy="2146784"/>
          </a:xfrm>
          <a:prstGeom prst="bentConnector3">
            <a:avLst>
              <a:gd name="adj1" fmla="val 71632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カギ線コネクタ 115"/>
          <p:cNvCxnSpPr/>
          <p:nvPr/>
        </p:nvCxnSpPr>
        <p:spPr>
          <a:xfrm rot="5400000" flipH="1" flipV="1">
            <a:off x="5916019" y="4395286"/>
            <a:ext cx="1008000" cy="972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カギ線コネクタ 130"/>
          <p:cNvCxnSpPr>
            <a:cxnSpLocks/>
          </p:cNvCxnSpPr>
          <p:nvPr/>
        </p:nvCxnSpPr>
        <p:spPr>
          <a:xfrm rot="5400000" flipH="1" flipV="1">
            <a:off x="5723505" y="4762126"/>
            <a:ext cx="1737391" cy="461969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テキスト ボックス 10353">
            <a:extLst>
              <a:ext uri="{FF2B5EF4-FFF2-40B4-BE49-F238E27FC236}">
                <a16:creationId xmlns:a16="http://schemas.microsoft.com/office/drawing/2014/main" id="{DE861DA0-B21F-47EB-B995-A88A4F1EDDE7}"/>
              </a:ext>
            </a:extLst>
          </p:cNvPr>
          <p:cNvSpPr txBox="1"/>
          <p:nvPr/>
        </p:nvSpPr>
        <p:spPr>
          <a:xfrm>
            <a:off x="6684646" y="2248238"/>
            <a:ext cx="2016000" cy="3852000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フラッシュ</a:t>
            </a:r>
            <a:endParaRPr lang="ja-JP" altLang="ja-JP" sz="1400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自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オン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オフ）</a:t>
            </a:r>
          </a:p>
          <a:p>
            <a:pPr algn="just"/>
            <a:endParaRPr lang="en-US" sz="1400" b="1" kern="100" dirty="0">
              <a:solidFill>
                <a:srgbClr val="00B0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kern="1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セルフタイマー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オ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3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10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）</a:t>
            </a:r>
            <a:endParaRPr lang="en-US" altLang="ja-JP" sz="1400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の切り替え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背面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前面</a:t>
            </a:r>
          </a:p>
          <a:p>
            <a:pPr algn="just"/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iPhone8</a:t>
            </a:r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以前でのカメラのアイコンはこの形です</a:t>
            </a:r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endParaRPr lang="ja-JP" altLang="ja-JP" sz="1400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kern="100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cxnSp>
        <p:nvCxnSpPr>
          <p:cNvPr id="139" name="カギ線コネクタ 138"/>
          <p:cNvCxnSpPr/>
          <p:nvPr/>
        </p:nvCxnSpPr>
        <p:spPr>
          <a:xfrm rot="16200000" flipV="1">
            <a:off x="737736" y="4020315"/>
            <a:ext cx="1980000" cy="93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カギ線コネクタ 139"/>
          <p:cNvCxnSpPr/>
          <p:nvPr/>
        </p:nvCxnSpPr>
        <p:spPr>
          <a:xfrm flipH="1" flipV="1">
            <a:off x="1474208" y="4797152"/>
            <a:ext cx="468000" cy="108000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テキスト ボックス 10388">
            <a:extLst>
              <a:ext uri="{FF2B5EF4-FFF2-40B4-BE49-F238E27FC236}">
                <a16:creationId xmlns:a16="http://schemas.microsoft.com/office/drawing/2014/main" id="{EDBECF62-F61A-44D9-A5C2-307A68E468AB}"/>
              </a:ext>
            </a:extLst>
          </p:cNvPr>
          <p:cNvSpPr txBox="1"/>
          <p:nvPr/>
        </p:nvSpPr>
        <p:spPr>
          <a:xfrm>
            <a:off x="429704" y="3416808"/>
            <a:ext cx="1116000" cy="2844000"/>
          </a:xfrm>
          <a:prstGeom prst="rect">
            <a:avLst/>
          </a:prstGeom>
          <a:solidFill>
            <a:schemeClr val="lt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モード</a:t>
            </a: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を左右に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ドラッグして</a:t>
            </a: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の種類の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選択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endParaRPr lang="en-US" altLang="ja-JP" sz="1400" kern="100" dirty="0">
              <a:ea typeface="HG丸ｺﾞｼｯｸM-PRO" panose="020F0600000000000000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サムネイル</a:t>
            </a:r>
            <a:endParaRPr lang="ja-JP" altLang="ja-JP" sz="1400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った写真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ビデオを</a:t>
            </a: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チェックする</a:t>
            </a:r>
          </a:p>
          <a:p>
            <a:pPr algn="r"/>
            <a:endParaRPr lang="en-US" alt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  <a:p>
            <a:pPr algn="r"/>
            <a:endParaRPr 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142" name="テキスト ボックス 164">
            <a:extLst>
              <a:ext uri="{FF2B5EF4-FFF2-40B4-BE49-F238E27FC236}">
                <a16:creationId xmlns:a16="http://schemas.microsoft.com/office/drawing/2014/main" id="{1E34DD15-BB11-4F61-8008-A1A69B49ED51}"/>
              </a:ext>
            </a:extLst>
          </p:cNvPr>
          <p:cNvSpPr txBox="1"/>
          <p:nvPr/>
        </p:nvSpPr>
        <p:spPr>
          <a:xfrm>
            <a:off x="695172" y="6179592"/>
            <a:ext cx="1925465" cy="27661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シャッターボタン</a:t>
            </a:r>
            <a:endParaRPr lang="ja-JP" sz="1400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143" name="カギ線コネクタ 142"/>
          <p:cNvCxnSpPr/>
          <p:nvPr/>
        </p:nvCxnSpPr>
        <p:spPr>
          <a:xfrm rot="5400000">
            <a:off x="2429808" y="5886106"/>
            <a:ext cx="216000" cy="612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図形グループ 57"/>
          <p:cNvGrpSpPr/>
          <p:nvPr/>
        </p:nvGrpSpPr>
        <p:grpSpPr>
          <a:xfrm>
            <a:off x="5130754" y="2492896"/>
            <a:ext cx="296586" cy="293005"/>
            <a:chOff x="35466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2470483" y="2492896"/>
            <a:ext cx="296587" cy="293005"/>
            <a:chOff x="2897417" y="3995693"/>
            <a:chExt cx="296587" cy="293005"/>
          </a:xfrm>
        </p:grpSpPr>
        <p:sp>
          <p:nvSpPr>
            <p:cNvPr id="62" name="円/楕円 6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テキスト ボックス 6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7" name="図 16" descr="「カメラ」の画面の画像">
            <a:extLst>
              <a:ext uri="{FF2B5EF4-FFF2-40B4-BE49-F238E27FC236}">
                <a16:creationId xmlns:a16="http://schemas.microsoft.com/office/drawing/2014/main" id="{8EE2CB9E-621A-6804-F99F-2C5D27D5112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120" r="42692" b="94531"/>
          <a:stretch/>
        </p:blipFill>
        <p:spPr>
          <a:xfrm rot="10800000">
            <a:off x="5359546" y="2744975"/>
            <a:ext cx="311985" cy="187050"/>
          </a:xfrm>
          <a:prstGeom prst="rect">
            <a:avLst/>
          </a:prstGeom>
        </p:spPr>
      </p:pic>
      <p:sp>
        <p:nvSpPr>
          <p:cNvPr id="18" name="楕円 17">
            <a:extLst>
              <a:ext uri="{FF2B5EF4-FFF2-40B4-BE49-F238E27FC236}">
                <a16:creationId xmlns:a16="http://schemas.microsoft.com/office/drawing/2014/main" id="{815C66F5-A2F5-E6D3-7C74-2B8EF58AB865}"/>
              </a:ext>
            </a:extLst>
          </p:cNvPr>
          <p:cNvSpPr/>
          <p:nvPr/>
        </p:nvSpPr>
        <p:spPr>
          <a:xfrm>
            <a:off x="6089172" y="5740667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9" name="楕円 18">
            <a:extLst>
              <a:ext uri="{FF2B5EF4-FFF2-40B4-BE49-F238E27FC236}">
                <a16:creationId xmlns:a16="http://schemas.microsoft.com/office/drawing/2014/main" id="{150C949E-4F87-39CC-0C28-0852280362E0}"/>
              </a:ext>
            </a:extLst>
          </p:cNvPr>
          <p:cNvSpPr/>
          <p:nvPr/>
        </p:nvSpPr>
        <p:spPr>
          <a:xfrm>
            <a:off x="4617720" y="538083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楕円 20">
            <a:extLst>
              <a:ext uri="{FF2B5EF4-FFF2-40B4-BE49-F238E27FC236}">
                <a16:creationId xmlns:a16="http://schemas.microsoft.com/office/drawing/2014/main" id="{ACB70EB1-F12E-B087-2B2C-0872EC8F2631}"/>
              </a:ext>
            </a:extLst>
          </p:cNvPr>
          <p:cNvSpPr/>
          <p:nvPr/>
        </p:nvSpPr>
        <p:spPr>
          <a:xfrm>
            <a:off x="5790092" y="538083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4" name="楕円 23">
            <a:extLst>
              <a:ext uri="{FF2B5EF4-FFF2-40B4-BE49-F238E27FC236}">
                <a16:creationId xmlns:a16="http://schemas.microsoft.com/office/drawing/2014/main" id="{8AFC2397-C978-0ED4-A147-7566DCEE4958}"/>
              </a:ext>
            </a:extLst>
          </p:cNvPr>
          <p:cNvSpPr/>
          <p:nvPr/>
        </p:nvSpPr>
        <p:spPr>
          <a:xfrm>
            <a:off x="2650644" y="5699348"/>
            <a:ext cx="378390" cy="360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E24042D3-7984-6ED2-3947-02C33FD499F7}"/>
              </a:ext>
            </a:extLst>
          </p:cNvPr>
          <p:cNvGrpSpPr/>
          <p:nvPr/>
        </p:nvGrpSpPr>
        <p:grpSpPr>
          <a:xfrm>
            <a:off x="7445824" y="5795876"/>
            <a:ext cx="484604" cy="478090"/>
            <a:chOff x="9163556" y="5652670"/>
            <a:chExt cx="484604" cy="478090"/>
          </a:xfrm>
        </p:grpSpPr>
        <p:sp>
          <p:nvSpPr>
            <p:cNvPr id="26" name="楕円 25">
              <a:extLst>
                <a:ext uri="{FF2B5EF4-FFF2-40B4-BE49-F238E27FC236}">
                  <a16:creationId xmlns:a16="http://schemas.microsoft.com/office/drawing/2014/main" id="{5A20C785-FFEA-46EA-DF47-5E005DFFF8B2}"/>
                </a:ext>
              </a:extLst>
            </p:cNvPr>
            <p:cNvSpPr/>
            <p:nvPr/>
          </p:nvSpPr>
          <p:spPr>
            <a:xfrm>
              <a:off x="9163556" y="5652670"/>
              <a:ext cx="484604" cy="47809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27" name="図 26">
              <a:extLst>
                <a:ext uri="{FF2B5EF4-FFF2-40B4-BE49-F238E27FC236}">
                  <a16:creationId xmlns:a16="http://schemas.microsoft.com/office/drawing/2014/main" id="{839D5D43-1016-9438-CF6C-1FAA90B22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31828" y="5734530"/>
              <a:ext cx="352474" cy="314369"/>
            </a:xfrm>
            <a:prstGeom prst="rect">
              <a:avLst/>
            </a:prstGeom>
          </p:spPr>
        </p:pic>
      </p:grpSp>
      <p:sp>
        <p:nvSpPr>
          <p:cNvPr id="31" name="矢印: 右 30">
            <a:extLst>
              <a:ext uri="{FF2B5EF4-FFF2-40B4-BE49-F238E27FC236}">
                <a16:creationId xmlns:a16="http://schemas.microsoft.com/office/drawing/2014/main" id="{F9A525D1-848D-74E5-117A-54C50273C631}"/>
              </a:ext>
            </a:extLst>
          </p:cNvPr>
          <p:cNvSpPr/>
          <p:nvPr/>
        </p:nvSpPr>
        <p:spPr>
          <a:xfrm>
            <a:off x="3995936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851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図形グループ 9" descr="さまざまな操作アイコンがある「カメラ」の画面の画像"/>
          <p:cNvGrpSpPr>
            <a:grpSpLocks noChangeAspect="1"/>
          </p:cNvGrpSpPr>
          <p:nvPr/>
        </p:nvGrpSpPr>
        <p:grpSpPr>
          <a:xfrm>
            <a:off x="3541010" y="2345133"/>
            <a:ext cx="2050277" cy="3420000"/>
            <a:chOff x="4279900" y="2638425"/>
            <a:chExt cx="2266950" cy="3781425"/>
          </a:xfrm>
        </p:grpSpPr>
        <p:pic>
          <p:nvPicPr>
            <p:cNvPr id="56" name="図 55">
              <a:extLst>
                <a:ext uri="{FF2B5EF4-FFF2-40B4-BE49-F238E27FC236}">
                  <a16:creationId xmlns:a16="http://schemas.microsoft.com/office/drawing/2014/main" id="{FE913D1C-9871-44BE-9F8B-B93EE4C13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79900" y="2638425"/>
              <a:ext cx="2266950" cy="3781425"/>
            </a:xfrm>
            <a:prstGeom prst="rect">
              <a:avLst/>
            </a:prstGeom>
          </p:spPr>
        </p:pic>
        <p:sp>
          <p:nvSpPr>
            <p:cNvPr id="58" name="矢印: 左右 18">
              <a:extLst>
                <a:ext uri="{FF2B5EF4-FFF2-40B4-BE49-F238E27FC236}">
                  <a16:creationId xmlns:a16="http://schemas.microsoft.com/office/drawing/2014/main" id="{D269FAFD-E3FF-4C55-B473-DA04F0E940D1}"/>
                </a:ext>
              </a:extLst>
            </p:cNvPr>
            <p:cNvSpPr/>
            <p:nvPr/>
          </p:nvSpPr>
          <p:spPr>
            <a:xfrm>
              <a:off x="4807525" y="5381625"/>
              <a:ext cx="1301175" cy="264362"/>
            </a:xfrm>
            <a:prstGeom prst="left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さまざまな操作機能</a:t>
            </a:r>
          </a:p>
        </p:txBody>
      </p:sp>
      <p:sp>
        <p:nvSpPr>
          <p:cNvPr id="82" name="正方形/長方形 8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3570088" y="5363041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9" name="正方形/長方形 108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3466576" y="5142121"/>
            <a:ext cx="2196000" cy="18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16" name="カギ線コネクタ 115"/>
          <p:cNvCxnSpPr/>
          <p:nvPr/>
        </p:nvCxnSpPr>
        <p:spPr>
          <a:xfrm rot="16200000" flipH="1">
            <a:off x="5263926" y="2339531"/>
            <a:ext cx="648000" cy="111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円/楕円 120"/>
          <p:cNvSpPr>
            <a:spLocks noChangeAspect="1"/>
          </p:cNvSpPr>
          <p:nvPr/>
        </p:nvSpPr>
        <p:spPr>
          <a:xfrm>
            <a:off x="5263919" y="5390312"/>
            <a:ext cx="288000" cy="288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31" name="カギ線コネクタ 130"/>
          <p:cNvCxnSpPr/>
          <p:nvPr/>
        </p:nvCxnSpPr>
        <p:spPr>
          <a:xfrm flipV="1">
            <a:off x="5544160" y="4722457"/>
            <a:ext cx="468000" cy="79200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カギ線コネクタ 138"/>
          <p:cNvCxnSpPr/>
          <p:nvPr/>
        </p:nvCxnSpPr>
        <p:spPr>
          <a:xfrm rot="5400000" flipH="1" flipV="1">
            <a:off x="5181578" y="4037730"/>
            <a:ext cx="1260000" cy="93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カギ線コネクタ 139"/>
          <p:cNvCxnSpPr>
            <a:cxnSpLocks/>
            <a:stCxn id="82" idx="1"/>
            <a:endCxn id="136" idx="3"/>
          </p:cNvCxnSpPr>
          <p:nvPr/>
        </p:nvCxnSpPr>
        <p:spPr>
          <a:xfrm rot="10800000">
            <a:off x="3137924" y="4337507"/>
            <a:ext cx="432165" cy="1205535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カギ線コネクタ 142"/>
          <p:cNvCxnSpPr>
            <a:cxnSpLocks/>
            <a:stCxn id="18" idx="4"/>
          </p:cNvCxnSpPr>
          <p:nvPr/>
        </p:nvCxnSpPr>
        <p:spPr>
          <a:xfrm rot="16200000" flipH="1">
            <a:off x="4957605" y="5361397"/>
            <a:ext cx="304950" cy="1083840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 txBox="1">
            <a:spLocks/>
          </p:cNvSpPr>
          <p:nvPr/>
        </p:nvSpPr>
        <p:spPr>
          <a:xfrm>
            <a:off x="505968" y="1530394"/>
            <a:ext cx="8280000" cy="576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">
              <a:lnSpc>
                <a:spcPct val="50000"/>
              </a:lnSpc>
            </a:pPr>
            <a:r>
              <a:rPr lang="en-US" altLang="ja-JP" dirty="0">
                <a:latin typeface="メイリオ"/>
                <a:ea typeface="メイリオ"/>
                <a:cs typeface="Schoolbook Uralic"/>
              </a:rPr>
              <a:t>iPhone</a:t>
            </a:r>
            <a:r>
              <a:rPr lang="ja-JP" altLang="en-US">
                <a:latin typeface="メイリオ"/>
                <a:ea typeface="メイリオ"/>
                <a:cs typeface="Schoolbook Uralic"/>
              </a:rPr>
              <a:t>の操作アイコ</a:t>
            </a:r>
            <a:r>
              <a:rPr lang="ja-JP" altLang="en-US" spc="-1000">
                <a:latin typeface="メイリオ"/>
                <a:ea typeface="メイリオ"/>
                <a:cs typeface="Schoolbook Uralic"/>
              </a:rPr>
              <a:t>ン</a:t>
            </a:r>
            <a:r>
              <a:rPr lang="ja-JP" altLang="en-US" b="0">
                <a:latin typeface="Meiryo"/>
                <a:ea typeface="Meiryo"/>
              </a:rPr>
              <a:t>［</a:t>
            </a:r>
            <a:r>
              <a:rPr lang="en-US" altLang="ja-JP" dirty="0">
                <a:latin typeface="メイリオ"/>
                <a:ea typeface="メイリオ"/>
                <a:cs typeface="Schoolbook Uralic"/>
              </a:rPr>
              <a:t>iOS12</a:t>
            </a:r>
            <a:r>
              <a:rPr lang="ja-JP" altLang="en-US">
                <a:latin typeface="メイリオ"/>
                <a:ea typeface="メイリオ"/>
                <a:cs typeface="Schoolbook Uralic"/>
              </a:rPr>
              <a:t>以前の機種の場合</a:t>
            </a:r>
            <a:r>
              <a:rPr lang="ja-JP" altLang="en-US" b="0">
                <a:latin typeface="Meiryo"/>
                <a:ea typeface="Meiryo"/>
              </a:rPr>
              <a:t>］</a:t>
            </a:r>
            <a:endParaRPr lang="en-US" altLang="ja-JP" b="0">
              <a:latin typeface="Meiryo"/>
              <a:ea typeface="Meiryo"/>
            </a:endParaRPr>
          </a:p>
          <a:p>
            <a:pPr marL="8890">
              <a:lnSpc>
                <a:spcPct val="50000"/>
              </a:lnSpc>
            </a:pP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アイコンの表示位置などが変わっています。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L="8890">
              <a:lnSpc>
                <a:spcPct val="50000"/>
              </a:lnSpc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</p:txBody>
      </p:sp>
      <p:cxnSp>
        <p:nvCxnSpPr>
          <p:cNvPr id="14" name="直線コネクタ 13"/>
          <p:cNvCxnSpPr/>
          <p:nvPr/>
        </p:nvCxnSpPr>
        <p:spPr>
          <a:xfrm flipH="1">
            <a:off x="2699792" y="2438140"/>
            <a:ext cx="82659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テキスト ボックス 10353">
            <a:extLst>
              <a:ext uri="{FF2B5EF4-FFF2-40B4-BE49-F238E27FC236}">
                <a16:creationId xmlns:a16="http://schemas.microsoft.com/office/drawing/2014/main" id="{DE861DA0-B21F-47EB-B995-A88A4F1EDDE7}"/>
              </a:ext>
            </a:extLst>
          </p:cNvPr>
          <p:cNvSpPr txBox="1"/>
          <p:nvPr/>
        </p:nvSpPr>
        <p:spPr>
          <a:xfrm>
            <a:off x="6014672" y="2719813"/>
            <a:ext cx="2520000" cy="3600000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 altLang="ja-JP" sz="1400" b="1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セルフタイマー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オ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3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10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）</a:t>
            </a:r>
          </a:p>
          <a:p>
            <a:pPr algn="just"/>
            <a:endParaRPr lang="en-US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モード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を左右に</a:t>
            </a:r>
            <a:r>
              <a:rPr lang="ja-JP" altLang="en-US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ライド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して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の種類の選択</a:t>
            </a:r>
          </a:p>
          <a:p>
            <a:pPr algn="just"/>
            <a:endParaRPr lang="en-US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の切り替え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背面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前面</a:t>
            </a:r>
          </a:p>
          <a:p>
            <a:pPr algn="just"/>
            <a:r>
              <a:rPr lang="en-US" altLang="ja-JP" sz="1400" kern="100" dirty="0" err="1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iPhoneX</a:t>
            </a:r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以降でのカメラの</a:t>
            </a:r>
            <a:endParaRPr lang="en-US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イコンはこの形です</a:t>
            </a:r>
            <a:endParaRPr lang="en-US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endParaRPr lang="ja-JP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ja-JP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36" name="テキスト ボックス 10388">
            <a:extLst>
              <a:ext uri="{FF2B5EF4-FFF2-40B4-BE49-F238E27FC236}">
                <a16:creationId xmlns:a16="http://schemas.microsoft.com/office/drawing/2014/main" id="{EDBECF62-F61A-44D9-A5C2-307A68E468AB}"/>
              </a:ext>
            </a:extLst>
          </p:cNvPr>
          <p:cNvSpPr txBox="1"/>
          <p:nvPr/>
        </p:nvSpPr>
        <p:spPr>
          <a:xfrm>
            <a:off x="617923" y="2357506"/>
            <a:ext cx="2520000" cy="3960000"/>
          </a:xfrm>
          <a:prstGeom prst="rect">
            <a:avLst/>
          </a:prstGeom>
          <a:solidFill>
            <a:schemeClr val="lt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フラッシュ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（自動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オン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オフ）</a:t>
            </a:r>
            <a:endParaRPr lang="en-US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ムネイル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撮った写真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ビデオを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チェックする</a:t>
            </a:r>
          </a:p>
          <a:p>
            <a:pPr algn="r"/>
            <a:endParaRPr lang="en-US" altLang="ja-JP" sz="1400" kern="100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en-US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ja-JP" sz="1400" kern="1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テキスト ボックス 164">
            <a:extLst>
              <a:ext uri="{FF2B5EF4-FFF2-40B4-BE49-F238E27FC236}">
                <a16:creationId xmlns:a16="http://schemas.microsoft.com/office/drawing/2014/main" id="{1E34DD15-BB11-4F61-8008-A1A69B49ED51}"/>
              </a:ext>
            </a:extLst>
          </p:cNvPr>
          <p:cNvSpPr txBox="1"/>
          <p:nvPr/>
        </p:nvSpPr>
        <p:spPr>
          <a:xfrm>
            <a:off x="5598863" y="5929434"/>
            <a:ext cx="1925465" cy="27661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シャッターボタン</a:t>
            </a:r>
            <a:endParaRPr lang="ja-JP" sz="1400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5" name="楕円 14">
            <a:extLst>
              <a:ext uri="{FF2B5EF4-FFF2-40B4-BE49-F238E27FC236}">
                <a16:creationId xmlns:a16="http://schemas.microsoft.com/office/drawing/2014/main" id="{ED9FD31C-C036-A29B-845A-19000174086E}"/>
              </a:ext>
            </a:extLst>
          </p:cNvPr>
          <p:cNvSpPr/>
          <p:nvPr/>
        </p:nvSpPr>
        <p:spPr>
          <a:xfrm>
            <a:off x="3511820" y="231637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6" name="図 15" descr="「カメラ」の画面の画像">
            <a:extLst>
              <a:ext uri="{FF2B5EF4-FFF2-40B4-BE49-F238E27FC236}">
                <a16:creationId xmlns:a16="http://schemas.microsoft.com/office/drawing/2014/main" id="{66B2F7A5-5A41-CCC4-CCEB-DF4346F4810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9331" t="88186" r="1987" b="2574"/>
          <a:stretch/>
        </p:blipFill>
        <p:spPr>
          <a:xfrm>
            <a:off x="6062925" y="5504037"/>
            <a:ext cx="433306" cy="380280"/>
          </a:xfrm>
          <a:prstGeom prst="rect">
            <a:avLst/>
          </a:prstGeom>
        </p:spPr>
      </p:pic>
      <p:sp>
        <p:nvSpPr>
          <p:cNvPr id="17" name="楕円 16">
            <a:extLst>
              <a:ext uri="{FF2B5EF4-FFF2-40B4-BE49-F238E27FC236}">
                <a16:creationId xmlns:a16="http://schemas.microsoft.com/office/drawing/2014/main" id="{A3526F0A-1870-4F29-7F17-9E92906EFCDD}"/>
              </a:ext>
            </a:extLst>
          </p:cNvPr>
          <p:cNvSpPr/>
          <p:nvPr/>
        </p:nvSpPr>
        <p:spPr>
          <a:xfrm>
            <a:off x="4889685" y="2297829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楕円 17">
            <a:extLst>
              <a:ext uri="{FF2B5EF4-FFF2-40B4-BE49-F238E27FC236}">
                <a16:creationId xmlns:a16="http://schemas.microsoft.com/office/drawing/2014/main" id="{07B49B47-BA5B-46FB-1F8A-86C7FC90E845}"/>
              </a:ext>
            </a:extLst>
          </p:cNvPr>
          <p:cNvSpPr/>
          <p:nvPr/>
        </p:nvSpPr>
        <p:spPr>
          <a:xfrm>
            <a:off x="4355976" y="5341171"/>
            <a:ext cx="424367" cy="40967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3472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図 49" descr="写真が一覧で表示された画面の画像">
            <a:extLst>
              <a:ext uri="{FF2B5EF4-FFF2-40B4-BE49-F238E27FC236}">
                <a16:creationId xmlns:a16="http://schemas.microsoft.com/office/drawing/2014/main" id="{AD8F5FB4-DB7D-4F1E-96B2-121FF089D23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3" b="1"/>
          <a:stretch/>
        </p:blipFill>
        <p:spPr>
          <a:xfrm>
            <a:off x="4860032" y="2718468"/>
            <a:ext cx="1620000" cy="288802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撮った写真を見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351" y="1427121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今までに撮った写真を見ましょう。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ルバム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で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最近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項目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イコン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覧表示される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から見たい写真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して拡大表示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BD7B8115-1923-40C8-B4EE-4A3B07578796}"/>
              </a:ext>
            </a:extLst>
          </p:cNvPr>
          <p:cNvSpPr>
            <a:spLocks noChangeAspect="1"/>
          </p:cNvSpPr>
          <p:nvPr/>
        </p:nvSpPr>
        <p:spPr>
          <a:xfrm>
            <a:off x="2997966" y="3141040"/>
            <a:ext cx="792000" cy="79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0" name="図形グループ 69"/>
          <p:cNvGrpSpPr/>
          <p:nvPr/>
        </p:nvGrpSpPr>
        <p:grpSpPr>
          <a:xfrm>
            <a:off x="5772355" y="3529696"/>
            <a:ext cx="296586" cy="293005"/>
            <a:chOff x="423244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3" name="図形グループ 72"/>
          <p:cNvGrpSpPr/>
          <p:nvPr/>
        </p:nvGrpSpPr>
        <p:grpSpPr>
          <a:xfrm>
            <a:off x="2847020" y="2987699"/>
            <a:ext cx="296586" cy="293005"/>
            <a:chOff x="3546641" y="3995693"/>
            <a:chExt cx="296586" cy="293005"/>
          </a:xfrm>
        </p:grpSpPr>
        <p:sp>
          <p:nvSpPr>
            <p:cNvPr id="74" name="円/楕円 7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5" name="フリーフォーム 7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E8B7BA12-F979-156F-48E8-300B710921C3}"/>
              </a:ext>
            </a:extLst>
          </p:cNvPr>
          <p:cNvGrpSpPr/>
          <p:nvPr/>
        </p:nvGrpSpPr>
        <p:grpSpPr>
          <a:xfrm>
            <a:off x="552078" y="2733384"/>
            <a:ext cx="1572669" cy="3017694"/>
            <a:chOff x="6156408" y="3057373"/>
            <a:chExt cx="1515397" cy="3060000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970CA22-2CDD-E442-1967-83185C4571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56408" y="3057373"/>
              <a:ext cx="1515397" cy="3060000"/>
            </a:xfrm>
            <a:prstGeom prst="rect">
              <a:avLst/>
            </a:prstGeom>
          </p:spPr>
        </p:pic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AB4CF568-145B-60F5-2F2A-C892EC5C5C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42705" y="3394470"/>
              <a:ext cx="1329668" cy="2365036"/>
            </a:xfrm>
            <a:prstGeom prst="rect">
              <a:avLst/>
            </a:prstGeom>
          </p:spPr>
        </p:pic>
      </p:grp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38BE7FA8-CBB8-B6CC-7FA0-BB129EF2BC58}"/>
              </a:ext>
            </a:extLst>
          </p:cNvPr>
          <p:cNvSpPr/>
          <p:nvPr/>
        </p:nvSpPr>
        <p:spPr>
          <a:xfrm flipH="1">
            <a:off x="1030876" y="3750575"/>
            <a:ext cx="300764" cy="293005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2" name="図形グループ 75">
            <a:extLst>
              <a:ext uri="{FF2B5EF4-FFF2-40B4-BE49-F238E27FC236}">
                <a16:creationId xmlns:a16="http://schemas.microsoft.com/office/drawing/2014/main" id="{A929AFDE-A382-24D6-FB6A-FD6E72474168}"/>
              </a:ext>
            </a:extLst>
          </p:cNvPr>
          <p:cNvGrpSpPr/>
          <p:nvPr/>
        </p:nvGrpSpPr>
        <p:grpSpPr>
          <a:xfrm>
            <a:off x="843540" y="3441153"/>
            <a:ext cx="296587" cy="293005"/>
            <a:chOff x="2897417" y="3995693"/>
            <a:chExt cx="296587" cy="293005"/>
          </a:xfrm>
        </p:grpSpPr>
        <p:sp>
          <p:nvSpPr>
            <p:cNvPr id="13" name="円/楕円 76">
              <a:extLst>
                <a:ext uri="{FF2B5EF4-FFF2-40B4-BE49-F238E27FC236}">
                  <a16:creationId xmlns:a16="http://schemas.microsoft.com/office/drawing/2014/main" id="{F928A0DE-FBA3-D616-B04A-FEF8DE35F4A4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F663AA8E-27EB-A59F-F404-5DB94730DBEA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6AC94CA7-332A-4F44-6106-7564847BF690}"/>
              </a:ext>
            </a:extLst>
          </p:cNvPr>
          <p:cNvGrpSpPr/>
          <p:nvPr/>
        </p:nvGrpSpPr>
        <p:grpSpPr>
          <a:xfrm>
            <a:off x="2699792" y="2709843"/>
            <a:ext cx="1618240" cy="2888022"/>
            <a:chOff x="8674607" y="1580431"/>
            <a:chExt cx="3855697" cy="6858000"/>
          </a:xfrm>
        </p:grpSpPr>
        <p:pic>
          <p:nvPicPr>
            <p:cNvPr id="18" name="図 17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75587158-1C4D-67AC-F722-E8E7A0641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674607" y="1580431"/>
              <a:ext cx="3855697" cy="685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9" name="図 18" descr="「アルバム」の画面の画像">
              <a:extLst>
                <a:ext uri="{FF2B5EF4-FFF2-40B4-BE49-F238E27FC236}">
                  <a16:creationId xmlns:a16="http://schemas.microsoft.com/office/drawing/2014/main" id="{C6AE9E51-6B11-E0D9-1EDC-870CC39503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909" b="12892"/>
            <a:stretch/>
          </p:blipFill>
          <p:spPr>
            <a:xfrm>
              <a:off x="8674607" y="3171105"/>
              <a:ext cx="3746265" cy="4794399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B8F2D9A8-2A1E-68EB-5643-687A5DD73079}"/>
                </a:ext>
              </a:extLst>
            </p:cNvPr>
            <p:cNvSpPr/>
            <p:nvPr/>
          </p:nvSpPr>
          <p:spPr>
            <a:xfrm>
              <a:off x="8931269" y="1580431"/>
              <a:ext cx="393259" cy="2066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F263D672-088F-D684-FC24-8AB114281DA7}"/>
              </a:ext>
            </a:extLst>
          </p:cNvPr>
          <p:cNvGrpSpPr/>
          <p:nvPr/>
        </p:nvGrpSpPr>
        <p:grpSpPr>
          <a:xfrm>
            <a:off x="7020272" y="2709843"/>
            <a:ext cx="1620000" cy="2888022"/>
            <a:chOff x="7020272" y="2709843"/>
            <a:chExt cx="1620000" cy="2888022"/>
          </a:xfrm>
        </p:grpSpPr>
        <p:grpSp>
          <p:nvGrpSpPr>
            <p:cNvPr id="3" name="図形グループ 2" descr="選択された写真の画面の画像"/>
            <p:cNvGrpSpPr>
              <a:grpSpLocks noChangeAspect="1"/>
            </p:cNvGrpSpPr>
            <p:nvPr/>
          </p:nvGrpSpPr>
          <p:grpSpPr>
            <a:xfrm>
              <a:off x="7020272" y="2709843"/>
              <a:ext cx="1620000" cy="2888022"/>
              <a:chOff x="7496103" y="2102494"/>
              <a:chExt cx="1606359" cy="2863704"/>
            </a:xfrm>
          </p:grpSpPr>
          <p:pic>
            <p:nvPicPr>
              <p:cNvPr id="55" name="図 54">
                <a:extLst>
                  <a:ext uri="{FF2B5EF4-FFF2-40B4-BE49-F238E27FC236}">
                    <a16:creationId xmlns:a16="http://schemas.microsoft.com/office/drawing/2014/main" id="{D43070F1-8902-4922-8A65-937D7BDF4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6103" y="2102494"/>
                <a:ext cx="1606359" cy="2863704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56" name="図 55">
                <a:extLst>
                  <a:ext uri="{FF2B5EF4-FFF2-40B4-BE49-F238E27FC236}">
                    <a16:creationId xmlns:a16="http://schemas.microsoft.com/office/drawing/2014/main" id="{D99CA7BE-26CC-4064-AC96-0B88ADBB58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541721" y="4754699"/>
                <a:ext cx="1549929" cy="208324"/>
              </a:xfrm>
              <a:prstGeom prst="rect">
                <a:avLst/>
              </a:prstGeom>
            </p:spPr>
          </p:pic>
        </p:grpSp>
        <p:pic>
          <p:nvPicPr>
            <p:cNvPr id="26" name="図 25">
              <a:extLst>
                <a:ext uri="{FF2B5EF4-FFF2-40B4-BE49-F238E27FC236}">
                  <a16:creationId xmlns:a16="http://schemas.microsoft.com/office/drawing/2014/main" id="{6A5FEDC0-10E3-5CC0-C4E7-B61060A9D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130380" y="2718446"/>
              <a:ext cx="230956" cy="78438"/>
            </a:xfrm>
            <a:prstGeom prst="rect">
              <a:avLst/>
            </a:prstGeom>
          </p:spPr>
        </p:pic>
      </p:grp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C24FE22-8141-27FB-A744-01B87A5914E4}"/>
              </a:ext>
            </a:extLst>
          </p:cNvPr>
          <p:cNvSpPr/>
          <p:nvPr/>
        </p:nvSpPr>
        <p:spPr>
          <a:xfrm flipH="1">
            <a:off x="5960492" y="3821999"/>
            <a:ext cx="536674" cy="549976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CF9B3C0A-7882-6999-4B4E-C6E9151EA2A9}"/>
              </a:ext>
            </a:extLst>
          </p:cNvPr>
          <p:cNvSpPr/>
          <p:nvPr/>
        </p:nvSpPr>
        <p:spPr>
          <a:xfrm flipH="1">
            <a:off x="2744241" y="3436037"/>
            <a:ext cx="745185" cy="916887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B2EB313B-461E-79D2-DD80-0768062BCBAA}"/>
              </a:ext>
            </a:extLst>
          </p:cNvPr>
          <p:cNvSpPr txBox="1"/>
          <p:nvPr/>
        </p:nvSpPr>
        <p:spPr>
          <a:xfrm>
            <a:off x="2308879" y="3254375"/>
            <a:ext cx="540000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矢印: 右 67">
            <a:extLst>
              <a:ext uri="{FF2B5EF4-FFF2-40B4-BE49-F238E27FC236}">
                <a16:creationId xmlns:a16="http://schemas.microsoft.com/office/drawing/2014/main" id="{A8AC27F8-A10E-8EF7-C649-FBA3E42D9C3A}"/>
              </a:ext>
            </a:extLst>
          </p:cNvPr>
          <p:cNvSpPr/>
          <p:nvPr/>
        </p:nvSpPr>
        <p:spPr>
          <a:xfrm>
            <a:off x="2168016" y="3937907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9" name="矢印: 右 68">
            <a:extLst>
              <a:ext uri="{FF2B5EF4-FFF2-40B4-BE49-F238E27FC236}">
                <a16:creationId xmlns:a16="http://schemas.microsoft.com/office/drawing/2014/main" id="{9E123C2B-18C7-6A07-14CB-3930C568F089}"/>
              </a:ext>
            </a:extLst>
          </p:cNvPr>
          <p:cNvSpPr/>
          <p:nvPr/>
        </p:nvSpPr>
        <p:spPr>
          <a:xfrm>
            <a:off x="4371851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9" name="矢印: 右 78">
            <a:extLst>
              <a:ext uri="{FF2B5EF4-FFF2-40B4-BE49-F238E27FC236}">
                <a16:creationId xmlns:a16="http://schemas.microsoft.com/office/drawing/2014/main" id="{E526F67E-5A68-09E3-AFA8-F80CAF3E33B1}"/>
              </a:ext>
            </a:extLst>
          </p:cNvPr>
          <p:cNvSpPr/>
          <p:nvPr/>
        </p:nvSpPr>
        <p:spPr>
          <a:xfrm>
            <a:off x="6541616" y="393305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1">
            <a:extLst>
              <a:ext uri="{FF2B5EF4-FFF2-40B4-BE49-F238E27FC236}">
                <a16:creationId xmlns:a16="http://schemas.microsoft.com/office/drawing/2014/main" id="{E1E63B11-88CA-BFB6-D4C4-16E82D4BA3FF}"/>
              </a:ext>
            </a:extLst>
          </p:cNvPr>
          <p:cNvSpPr txBox="1"/>
          <p:nvPr/>
        </p:nvSpPr>
        <p:spPr>
          <a:xfrm>
            <a:off x="7246886" y="713008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11218719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図 48" descr="写真が一覧で表示された画面の画像">
            <a:extLst>
              <a:ext uri="{FF2B5EF4-FFF2-40B4-BE49-F238E27FC236}">
                <a16:creationId xmlns:a16="http://schemas.microsoft.com/office/drawing/2014/main" id="{30B0B8A4-F9F9-4C13-8E4E-BADB9C23310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7"/>
          <a:stretch/>
        </p:blipFill>
        <p:spPr>
          <a:xfrm>
            <a:off x="539552" y="2535751"/>
            <a:ext cx="1964087" cy="351400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写真の削除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E</a:t>
            </a:r>
            <a:endParaRPr lang="en-US" sz="3600" dirty="0"/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351" y="1427121"/>
            <a:ext cx="7992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不要な写真を削除しましょう。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1835695" y="3846230"/>
            <a:ext cx="676843" cy="68131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23608" y="1831901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2" name="図形グループ 71"/>
          <p:cNvGrpSpPr/>
          <p:nvPr/>
        </p:nvGrpSpPr>
        <p:grpSpPr>
          <a:xfrm>
            <a:off x="5841407" y="5403591"/>
            <a:ext cx="296586" cy="293005"/>
            <a:chOff x="4232441" y="3995693"/>
            <a:chExt cx="296586" cy="293005"/>
          </a:xfrm>
        </p:grpSpPr>
        <p:sp>
          <p:nvSpPr>
            <p:cNvPr id="73" name="円/楕円 72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フリーフォーム 7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0DE75BA5-F348-6EDA-ED87-EC49561E098A}"/>
              </a:ext>
            </a:extLst>
          </p:cNvPr>
          <p:cNvGrpSpPr/>
          <p:nvPr/>
        </p:nvGrpSpPr>
        <p:grpSpPr>
          <a:xfrm>
            <a:off x="3362963" y="2535750"/>
            <a:ext cx="2001125" cy="3584419"/>
            <a:chOff x="3039961" y="2535750"/>
            <a:chExt cx="2001125" cy="3584419"/>
          </a:xfrm>
        </p:grpSpPr>
        <p:grpSp>
          <p:nvGrpSpPr>
            <p:cNvPr id="9" name="グループ化 8">
              <a:extLst>
                <a:ext uri="{FF2B5EF4-FFF2-40B4-BE49-F238E27FC236}">
                  <a16:creationId xmlns:a16="http://schemas.microsoft.com/office/drawing/2014/main" id="{C7ACB8E7-6ECA-8A3C-B30A-D6CB727F9F4A}"/>
                </a:ext>
              </a:extLst>
            </p:cNvPr>
            <p:cNvGrpSpPr/>
            <p:nvPr/>
          </p:nvGrpSpPr>
          <p:grpSpPr>
            <a:xfrm>
              <a:off x="3039961" y="2535750"/>
              <a:ext cx="1964087" cy="3514007"/>
              <a:chOff x="7020272" y="2709843"/>
              <a:chExt cx="1620000" cy="2888022"/>
            </a:xfrm>
          </p:grpSpPr>
          <p:grpSp>
            <p:nvGrpSpPr>
              <p:cNvPr id="10" name="図形グループ 2" descr="選択された写真の画面の画像">
                <a:extLst>
                  <a:ext uri="{FF2B5EF4-FFF2-40B4-BE49-F238E27FC236}">
                    <a16:creationId xmlns:a16="http://schemas.microsoft.com/office/drawing/2014/main" id="{70D118A9-6B1E-E0DC-EC98-EFE580F7AC4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020272" y="2709843"/>
                <a:ext cx="1620000" cy="2888022"/>
                <a:chOff x="7496103" y="2102494"/>
                <a:chExt cx="1606359" cy="2863704"/>
              </a:xfrm>
            </p:grpSpPr>
            <p:pic>
              <p:nvPicPr>
                <p:cNvPr id="12" name="図 11">
                  <a:extLst>
                    <a:ext uri="{FF2B5EF4-FFF2-40B4-BE49-F238E27FC236}">
                      <a16:creationId xmlns:a16="http://schemas.microsoft.com/office/drawing/2014/main" id="{7BF45C25-B337-A774-B50A-FD9EC526DD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96103" y="2102494"/>
                  <a:ext cx="1606359" cy="2863704"/>
                </a:xfrm>
                <a:prstGeom prst="rect">
                  <a:avLst/>
                </a:prstGeom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</p:pic>
            <p:pic>
              <p:nvPicPr>
                <p:cNvPr id="13" name="図 12">
                  <a:extLst>
                    <a:ext uri="{FF2B5EF4-FFF2-40B4-BE49-F238E27FC236}">
                      <a16:creationId xmlns:a16="http://schemas.microsoft.com/office/drawing/2014/main" id="{A07C7323-2D2C-C5AF-9356-4CC7AF46F1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541721" y="4754699"/>
                  <a:ext cx="1549929" cy="208324"/>
                </a:xfrm>
                <a:prstGeom prst="rect">
                  <a:avLst/>
                </a:prstGeom>
              </p:spPr>
            </p:pic>
          </p:grpSp>
          <p:pic>
            <p:nvPicPr>
              <p:cNvPr id="11" name="図 10">
                <a:extLst>
                  <a:ext uri="{FF2B5EF4-FFF2-40B4-BE49-F238E27FC236}">
                    <a16:creationId xmlns:a16="http://schemas.microsoft.com/office/drawing/2014/main" id="{6A963794-1D24-43C5-3971-6765B88681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130380" y="2718446"/>
                <a:ext cx="230956" cy="78438"/>
              </a:xfrm>
              <a:prstGeom prst="rect">
                <a:avLst/>
              </a:prstGeom>
            </p:spPr>
          </p:pic>
        </p:grp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BD7B8115-1923-40C8-B4EE-4A3B07578796}"/>
                </a:ext>
              </a:extLst>
            </p:cNvPr>
            <p:cNvSpPr/>
            <p:nvPr/>
          </p:nvSpPr>
          <p:spPr>
            <a:xfrm>
              <a:off x="4682108" y="5728129"/>
              <a:ext cx="358978" cy="39204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5" name="図形グループ 74"/>
            <p:cNvGrpSpPr/>
            <p:nvPr/>
          </p:nvGrpSpPr>
          <p:grpSpPr>
            <a:xfrm>
              <a:off x="4351948" y="5426717"/>
              <a:ext cx="296586" cy="293005"/>
              <a:chOff x="3546641" y="3995693"/>
              <a:chExt cx="296586" cy="293005"/>
            </a:xfrm>
          </p:grpSpPr>
          <p:sp>
            <p:nvSpPr>
              <p:cNvPr id="76" name="円/楕円 75"/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7" name="フリーフォーム 76"/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C2CB3E9-E438-3658-A062-9E10D24909D8}"/>
              </a:ext>
            </a:extLst>
          </p:cNvPr>
          <p:cNvSpPr txBox="1"/>
          <p:nvPr/>
        </p:nvSpPr>
        <p:spPr>
          <a:xfrm>
            <a:off x="755576" y="1869239"/>
            <a:ext cx="16500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要な写真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拡大表示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C321859-4B6A-BBE6-FEDF-62D0122BC2ED}"/>
              </a:ext>
            </a:extLst>
          </p:cNvPr>
          <p:cNvSpPr txBox="1"/>
          <p:nvPr/>
        </p:nvSpPr>
        <p:spPr>
          <a:xfrm>
            <a:off x="2762073" y="1869239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3D86231F-DCAF-A603-C91D-D3588FDD1735}"/>
              </a:ext>
            </a:extLst>
          </p:cNvPr>
          <p:cNvSpPr txBox="1"/>
          <p:nvPr/>
        </p:nvSpPr>
        <p:spPr>
          <a:xfrm>
            <a:off x="3258467" y="2005586"/>
            <a:ext cx="22286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ゴミ箱マークを押す</a:t>
            </a:r>
          </a:p>
        </p:txBody>
      </p:sp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F215EA75-B70D-0D50-5FC5-6544B0EA8CCE}"/>
              </a:ext>
            </a:extLst>
          </p:cNvPr>
          <p:cNvGrpSpPr/>
          <p:nvPr/>
        </p:nvGrpSpPr>
        <p:grpSpPr>
          <a:xfrm>
            <a:off x="6172590" y="2535751"/>
            <a:ext cx="1993291" cy="3514007"/>
            <a:chOff x="6123785" y="2535751"/>
            <a:chExt cx="1993291" cy="3514007"/>
          </a:xfrm>
        </p:grpSpPr>
        <p:grpSp>
          <p:nvGrpSpPr>
            <p:cNvPr id="18" name="グループ化 17">
              <a:extLst>
                <a:ext uri="{FF2B5EF4-FFF2-40B4-BE49-F238E27FC236}">
                  <a16:creationId xmlns:a16="http://schemas.microsoft.com/office/drawing/2014/main" id="{85B22092-1123-D2B0-F4A2-DA53B09B9B64}"/>
                </a:ext>
              </a:extLst>
            </p:cNvPr>
            <p:cNvGrpSpPr/>
            <p:nvPr/>
          </p:nvGrpSpPr>
          <p:grpSpPr>
            <a:xfrm>
              <a:off x="6138388" y="2535751"/>
              <a:ext cx="1964087" cy="3514007"/>
              <a:chOff x="7020272" y="2709843"/>
              <a:chExt cx="1620000" cy="2888022"/>
            </a:xfrm>
          </p:grpSpPr>
          <p:grpSp>
            <p:nvGrpSpPr>
              <p:cNvPr id="19" name="図形グループ 2" descr="選択された写真の画面の画像">
                <a:extLst>
                  <a:ext uri="{FF2B5EF4-FFF2-40B4-BE49-F238E27FC236}">
                    <a16:creationId xmlns:a16="http://schemas.microsoft.com/office/drawing/2014/main" id="{8D5658D2-84FF-E500-7769-F88D4F2F99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020272" y="2709843"/>
                <a:ext cx="1620000" cy="2888022"/>
                <a:chOff x="7496103" y="2102494"/>
                <a:chExt cx="1606359" cy="2863704"/>
              </a:xfrm>
            </p:grpSpPr>
            <p:pic>
              <p:nvPicPr>
                <p:cNvPr id="21" name="図 20">
                  <a:extLst>
                    <a:ext uri="{FF2B5EF4-FFF2-40B4-BE49-F238E27FC236}">
                      <a16:creationId xmlns:a16="http://schemas.microsoft.com/office/drawing/2014/main" id="{26D8D220-E1DA-3AC9-F7E4-C53144BA16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96103" y="2102494"/>
                  <a:ext cx="1606359" cy="2863704"/>
                </a:xfrm>
                <a:prstGeom prst="rect">
                  <a:avLst/>
                </a:prstGeom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</p:pic>
            <p:pic>
              <p:nvPicPr>
                <p:cNvPr id="22" name="図 21">
                  <a:extLst>
                    <a:ext uri="{FF2B5EF4-FFF2-40B4-BE49-F238E27FC236}">
                      <a16:creationId xmlns:a16="http://schemas.microsoft.com/office/drawing/2014/main" id="{7AB46C98-81D3-E5E0-7195-20D2F50458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541721" y="4754699"/>
                  <a:ext cx="1549929" cy="208324"/>
                </a:xfrm>
                <a:prstGeom prst="rect">
                  <a:avLst/>
                </a:prstGeom>
              </p:spPr>
            </p:pic>
          </p:grpSp>
          <p:pic>
            <p:nvPicPr>
              <p:cNvPr id="20" name="図 19">
                <a:extLst>
                  <a:ext uri="{FF2B5EF4-FFF2-40B4-BE49-F238E27FC236}">
                    <a16:creationId xmlns:a16="http://schemas.microsoft.com/office/drawing/2014/main" id="{C7164550-6787-93D1-7B0D-910D77E977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130380" y="2718446"/>
                <a:ext cx="230956" cy="78438"/>
              </a:xfrm>
              <a:prstGeom prst="rect">
                <a:avLst/>
              </a:prstGeom>
            </p:spPr>
          </p:pic>
        </p:grpSp>
        <p:pic>
          <p:nvPicPr>
            <p:cNvPr id="47" name="図 46" descr="「写真を削除」と表示された画面の画像">
              <a:extLst>
                <a:ext uri="{FF2B5EF4-FFF2-40B4-BE49-F238E27FC236}">
                  <a16:creationId xmlns:a16="http://schemas.microsoft.com/office/drawing/2014/main" id="{6DD61FA3-4EE8-43EC-945D-99D32D4BF2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8103" b="-1"/>
            <a:stretch/>
          </p:blipFill>
          <p:spPr>
            <a:xfrm>
              <a:off x="6123785" y="5228664"/>
              <a:ext cx="1993291" cy="816661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</p:grp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5FE452ED-BA63-E58B-6A9F-56DC24E5F8A5}"/>
              </a:ext>
            </a:extLst>
          </p:cNvPr>
          <p:cNvSpPr/>
          <p:nvPr/>
        </p:nvSpPr>
        <p:spPr>
          <a:xfrm>
            <a:off x="6168325" y="5651480"/>
            <a:ext cx="1997556" cy="39204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6553F9DD-6C00-B451-1411-9882778DA424}"/>
              </a:ext>
            </a:extLst>
          </p:cNvPr>
          <p:cNvSpPr txBox="1"/>
          <p:nvPr/>
        </p:nvSpPr>
        <p:spPr>
          <a:xfrm>
            <a:off x="5724208" y="1889872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7EADB5C3-3717-8A47-15DC-C1816265C51E}"/>
              </a:ext>
            </a:extLst>
          </p:cNvPr>
          <p:cNvSpPr txBox="1"/>
          <p:nvPr/>
        </p:nvSpPr>
        <p:spPr>
          <a:xfrm>
            <a:off x="6156176" y="1893456"/>
            <a:ext cx="2092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を削除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35" name="矢印: 右 34">
            <a:extLst>
              <a:ext uri="{FF2B5EF4-FFF2-40B4-BE49-F238E27FC236}">
                <a16:creationId xmlns:a16="http://schemas.microsoft.com/office/drawing/2014/main" id="{A7B1BCC2-66C1-02C6-9DC7-2A8C5F066122}"/>
              </a:ext>
            </a:extLst>
          </p:cNvPr>
          <p:cNvSpPr/>
          <p:nvPr/>
        </p:nvSpPr>
        <p:spPr>
          <a:xfrm>
            <a:off x="2574522" y="3906062"/>
            <a:ext cx="676844" cy="45266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37" name="矢印: 右 36">
            <a:extLst>
              <a:ext uri="{FF2B5EF4-FFF2-40B4-BE49-F238E27FC236}">
                <a16:creationId xmlns:a16="http://schemas.microsoft.com/office/drawing/2014/main" id="{BB624B3D-6450-DFC6-C37D-9CED2A561265}"/>
              </a:ext>
            </a:extLst>
          </p:cNvPr>
          <p:cNvSpPr/>
          <p:nvPr/>
        </p:nvSpPr>
        <p:spPr>
          <a:xfrm>
            <a:off x="5407324" y="3906061"/>
            <a:ext cx="676844" cy="45266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854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矢印: 右 4">
            <a:extLst>
              <a:ext uri="{FF2B5EF4-FFF2-40B4-BE49-F238E27FC236}">
                <a16:creationId xmlns:a16="http://schemas.microsoft.com/office/drawing/2014/main" id="{D9D755D4-990E-7B50-3ECB-FBA742ADE95D}"/>
              </a:ext>
            </a:extLst>
          </p:cNvPr>
          <p:cNvSpPr/>
          <p:nvPr/>
        </p:nvSpPr>
        <p:spPr>
          <a:xfrm>
            <a:off x="5722068" y="3909544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15012" y="1964478"/>
            <a:ext cx="2844000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を起動し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をカメラの枠内に映しこみ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ピントを合わせる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9" name="図 38" descr="目的のリンク先が表示された画面の画像">
            <a:extLst>
              <a:ext uri="{FF2B5EF4-FFF2-40B4-BE49-F238E27FC236}">
                <a16:creationId xmlns:a16="http://schemas.microsoft.com/office/drawing/2014/main" id="{BB23503F-6CFA-48BB-9B7C-BB93C47CA4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432" y="2727764"/>
            <a:ext cx="1800000" cy="33655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633070" y="1924029"/>
            <a:ext cx="2700000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目的のページ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見ることが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77507" y="186604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47864" y="180024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5276101" cy="426913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ja-JP" altLang="en-US" dirty="0"/>
              <a:t>カメラで</a:t>
            </a:r>
            <a:r>
              <a:rPr lang="en-US" altLang="ja-JP" dirty="0"/>
              <a:t>QR</a:t>
            </a:r>
            <a:r>
              <a:rPr lang="ja-JP" altLang="en-US" dirty="0"/>
              <a:t>コードを読み取れます。</a:t>
            </a:r>
          </a:p>
        </p:txBody>
      </p:sp>
      <p:grpSp>
        <p:nvGrpSpPr>
          <p:cNvPr id="2" name="グループ化 1" descr="「カメラ」の画面でQRコードを読み込んでいる画像">
            <a:extLst>
              <a:ext uri="{FF2B5EF4-FFF2-40B4-BE49-F238E27FC236}">
                <a16:creationId xmlns:a16="http://schemas.microsoft.com/office/drawing/2014/main" id="{1894D80B-AB50-434B-9CA8-024B513000D7}"/>
              </a:ext>
            </a:extLst>
          </p:cNvPr>
          <p:cNvGrpSpPr/>
          <p:nvPr/>
        </p:nvGrpSpPr>
        <p:grpSpPr>
          <a:xfrm>
            <a:off x="3779912" y="2727764"/>
            <a:ext cx="1800000" cy="3365532"/>
            <a:chOff x="982696" y="2933930"/>
            <a:chExt cx="1800000" cy="3201600"/>
          </a:xfrm>
        </p:grpSpPr>
        <p:pic>
          <p:nvPicPr>
            <p:cNvPr id="37" name="図 36" descr="QR コード&#10;&#10;中程度の精度で自動的に生成された説明">
              <a:extLst>
                <a:ext uri="{FF2B5EF4-FFF2-40B4-BE49-F238E27FC236}">
                  <a16:creationId xmlns:a16="http://schemas.microsoft.com/office/drawing/2014/main" id="{63369BFF-6CC5-4325-BC6A-8761CC7C7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2696" y="2933930"/>
              <a:ext cx="1800000" cy="32016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43" name="正方形/長方形 42"/>
            <p:cNvSpPr>
              <a:spLocks/>
            </p:cNvSpPr>
            <p:nvPr/>
          </p:nvSpPr>
          <p:spPr>
            <a:xfrm>
              <a:off x="1447122" y="4898102"/>
              <a:ext cx="1044000" cy="216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97" name="図 96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2176893" y="4957417"/>
              <a:ext cx="473301" cy="540000"/>
            </a:xfrm>
            <a:prstGeom prst="rect">
              <a:avLst/>
            </a:prstGeom>
          </p:spPr>
        </p:pic>
      </p:grpSp>
      <p:pic>
        <p:nvPicPr>
          <p:cNvPr id="12" name="図 11" descr="QR コード&#10;&#10;中程度の精度で自動的に生成された説明">
            <a:extLst>
              <a:ext uri="{FF2B5EF4-FFF2-40B4-BE49-F238E27FC236}">
                <a16:creationId xmlns:a16="http://schemas.microsoft.com/office/drawing/2014/main" id="{6E0BF757-190C-F122-1995-2DBE1C1EE97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727764"/>
            <a:ext cx="1800000" cy="33655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D005E86-D1FD-E51B-5D41-A80259EEF899}"/>
              </a:ext>
            </a:extLst>
          </p:cNvPr>
          <p:cNvSpPr>
            <a:spLocks noChangeAspect="1"/>
          </p:cNvSpPr>
          <p:nvPr/>
        </p:nvSpPr>
        <p:spPr>
          <a:xfrm>
            <a:off x="1522769" y="4243178"/>
            <a:ext cx="563293" cy="56329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6" name="図形グループ 34">
            <a:extLst>
              <a:ext uri="{FF2B5EF4-FFF2-40B4-BE49-F238E27FC236}">
                <a16:creationId xmlns:a16="http://schemas.microsoft.com/office/drawing/2014/main" id="{191DCAB9-A000-D0B0-2686-69092B8B5D71}"/>
              </a:ext>
            </a:extLst>
          </p:cNvPr>
          <p:cNvGrpSpPr/>
          <p:nvPr/>
        </p:nvGrpSpPr>
        <p:grpSpPr>
          <a:xfrm>
            <a:off x="3989061" y="4509704"/>
            <a:ext cx="296586" cy="293005"/>
            <a:chOff x="3546641" y="3995693"/>
            <a:chExt cx="296586" cy="293005"/>
          </a:xfrm>
        </p:grpSpPr>
        <p:sp>
          <p:nvSpPr>
            <p:cNvPr id="21" name="円/楕円 54">
              <a:extLst>
                <a:ext uri="{FF2B5EF4-FFF2-40B4-BE49-F238E27FC236}">
                  <a16:creationId xmlns:a16="http://schemas.microsoft.com/office/drawing/2014/main" id="{EAB38E47-8BEF-676E-3E78-364B65F950A8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フリーフォーム 55">
              <a:extLst>
                <a:ext uri="{FF2B5EF4-FFF2-40B4-BE49-F238E27FC236}">
                  <a16:creationId xmlns:a16="http://schemas.microsoft.com/office/drawing/2014/main" id="{67E6AB44-477D-2CBC-85EB-DA5659D13379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図形グループ 56">
            <a:extLst>
              <a:ext uri="{FF2B5EF4-FFF2-40B4-BE49-F238E27FC236}">
                <a16:creationId xmlns:a16="http://schemas.microsoft.com/office/drawing/2014/main" id="{2755EE5A-5892-9A6E-6780-9F8D2353937F}"/>
              </a:ext>
            </a:extLst>
          </p:cNvPr>
          <p:cNvGrpSpPr/>
          <p:nvPr/>
        </p:nvGrpSpPr>
        <p:grpSpPr>
          <a:xfrm>
            <a:off x="1318190" y="3950173"/>
            <a:ext cx="296587" cy="293005"/>
            <a:chOff x="2897417" y="3995693"/>
            <a:chExt cx="296587" cy="293005"/>
          </a:xfrm>
        </p:grpSpPr>
        <p:sp>
          <p:nvSpPr>
            <p:cNvPr id="18" name="円/楕円 57">
              <a:extLst>
                <a:ext uri="{FF2B5EF4-FFF2-40B4-BE49-F238E27FC236}">
                  <a16:creationId xmlns:a16="http://schemas.microsoft.com/office/drawing/2014/main" id="{A17B6843-4CE0-10B1-75C6-F2B905D5E36C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9B660AAF-451E-E308-4587-F7D49D709D23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F7321E8-F054-1AE4-BBCE-125DCB4E92FC}"/>
              </a:ext>
            </a:extLst>
          </p:cNvPr>
          <p:cNvSpPr txBox="1"/>
          <p:nvPr/>
        </p:nvSpPr>
        <p:spPr>
          <a:xfrm>
            <a:off x="3862390" y="1928315"/>
            <a:ext cx="2254476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込みが成功す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の下に黄色の表示が出るので押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CA93F90D-C56E-6C9E-DD3F-D7D4F6A31987}"/>
              </a:ext>
            </a:extLst>
          </p:cNvPr>
          <p:cNvSpPr txBox="1"/>
          <p:nvPr/>
        </p:nvSpPr>
        <p:spPr>
          <a:xfrm>
            <a:off x="6170826" y="1902972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0654DF7B-D7B5-E25E-B8B6-4566F5C53011}"/>
              </a:ext>
            </a:extLst>
          </p:cNvPr>
          <p:cNvSpPr/>
          <p:nvPr/>
        </p:nvSpPr>
        <p:spPr>
          <a:xfrm>
            <a:off x="2774709" y="3895166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56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90311" y="3425785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493441"/>
            <a:ext cx="6840000" cy="58862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．電話のかけ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番号を直接入力し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を使っ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連絡先から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の受け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1-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Ｅ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不在着信のあった場合のかけ直し方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9</a:t>
            </a:r>
            <a:endParaRPr lang="ja-JP" altLang="en-US" b="1" dirty="0">
              <a:latin typeface="Meiryo"/>
              <a:ea typeface="Meiryo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新しく連絡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0</a:t>
            </a: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G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に残っていた通話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1</a:t>
            </a:r>
          </a:p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．カメラの使い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A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写真を撮ろ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3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B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自撮りをしてみよ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4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C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さまざまな操作機能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5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D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撮った写真を見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7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E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写真の削除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8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F	QR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コードの読み取り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9</a:t>
            </a:r>
          </a:p>
          <a:p>
            <a:pPr marL="273050" algn="dist">
              <a:spcAft>
                <a:spcPts val="300"/>
              </a:spcAft>
            </a:pP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Picture 2" descr="スマートフォンを使うウサギ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8001" y="200665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46820" y="2091716"/>
            <a:ext cx="3275759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ントロールセンターを表示する</a:t>
            </a: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073960" y="196886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4352771" cy="436146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読み取りの別の方法</a:t>
            </a:r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877EE993-2FC0-3991-7B8A-EBA7C506349E}"/>
              </a:ext>
            </a:extLst>
          </p:cNvPr>
          <p:cNvGrpSpPr/>
          <p:nvPr/>
        </p:nvGrpSpPr>
        <p:grpSpPr>
          <a:xfrm>
            <a:off x="688235" y="3481267"/>
            <a:ext cx="1495273" cy="2870178"/>
            <a:chOff x="963093" y="2708920"/>
            <a:chExt cx="1683367" cy="3456000"/>
          </a:xfrm>
        </p:grpSpPr>
        <p:grpSp>
          <p:nvGrpSpPr>
            <p:cNvPr id="31" name="グループ化 30">
              <a:extLst>
                <a:ext uri="{FF2B5EF4-FFF2-40B4-BE49-F238E27FC236}">
                  <a16:creationId xmlns:a16="http://schemas.microsoft.com/office/drawing/2014/main" id="{F8893F83-B591-451F-75CB-E0BA67645478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44" name="図 43">
                <a:extLst>
                  <a:ext uri="{FF2B5EF4-FFF2-40B4-BE49-F238E27FC236}">
                    <a16:creationId xmlns:a16="http://schemas.microsoft.com/office/drawing/2014/main" id="{5412600B-A2EF-8625-7FB5-5BEDAA3CCC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06FD696C-280C-31E1-2E6F-BF5F4B754D25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32" name="グループ化 31">
              <a:extLst>
                <a:ext uri="{FF2B5EF4-FFF2-40B4-BE49-F238E27FC236}">
                  <a16:creationId xmlns:a16="http://schemas.microsoft.com/office/drawing/2014/main" id="{61C4D5D5-C750-F44C-B9CA-BAD9BB5874BA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33" name="図 32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61171F53-7FE1-D094-A205-F44F773F6A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34" name="図 33">
                <a:extLst>
                  <a:ext uri="{FF2B5EF4-FFF2-40B4-BE49-F238E27FC236}">
                    <a16:creationId xmlns:a16="http://schemas.microsoft.com/office/drawing/2014/main" id="{377623FE-DF30-B99A-D156-C34E0D7BD2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sp>
        <p:nvSpPr>
          <p:cNvPr id="46" name="上矢印 41">
            <a:extLst>
              <a:ext uri="{FF2B5EF4-FFF2-40B4-BE49-F238E27FC236}">
                <a16:creationId xmlns:a16="http://schemas.microsoft.com/office/drawing/2014/main" id="{9E5C7229-8849-FC43-118E-138B22740132}"/>
              </a:ext>
            </a:extLst>
          </p:cNvPr>
          <p:cNvSpPr>
            <a:spLocks/>
          </p:cNvSpPr>
          <p:nvPr/>
        </p:nvSpPr>
        <p:spPr>
          <a:xfrm>
            <a:off x="1107106" y="4477726"/>
            <a:ext cx="631902" cy="1548000"/>
          </a:xfrm>
          <a:prstGeom prst="upArrow">
            <a:avLst/>
          </a:prstGeom>
          <a:solidFill>
            <a:srgbClr val="00965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0" name="図 59">
            <a:extLst>
              <a:ext uri="{FF2B5EF4-FFF2-40B4-BE49-F238E27FC236}">
                <a16:creationId xmlns:a16="http://schemas.microsoft.com/office/drawing/2014/main" id="{E3F2BFAC-34E3-1CCF-2D4F-A974DA83BEFB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65281" y="5530624"/>
            <a:ext cx="473301" cy="540000"/>
          </a:xfrm>
          <a:prstGeom prst="rect">
            <a:avLst/>
          </a:prstGeom>
        </p:spPr>
      </p:pic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E3DFF2DA-34C6-1F85-AC7B-4B94F9B2FA85}"/>
              </a:ext>
            </a:extLst>
          </p:cNvPr>
          <p:cNvSpPr txBox="1"/>
          <p:nvPr/>
        </p:nvSpPr>
        <p:spPr>
          <a:xfrm>
            <a:off x="3912381" y="3193360"/>
            <a:ext cx="36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右</a:t>
            </a:r>
          </a:p>
        </p:txBody>
      </p:sp>
      <p:pic>
        <p:nvPicPr>
          <p:cNvPr id="63" name="図 62" descr="ホーム画面の画像">
            <a:extLst>
              <a:ext uri="{FF2B5EF4-FFF2-40B4-BE49-F238E27FC236}">
                <a16:creationId xmlns:a16="http://schemas.microsoft.com/office/drawing/2014/main" id="{8A744AFA-6B59-7EC7-C211-FD8EA38676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763" y="3430589"/>
            <a:ext cx="1622629" cy="2950739"/>
          </a:xfrm>
          <a:prstGeom prst="rect">
            <a:avLst/>
          </a:prstGeom>
        </p:spPr>
      </p:pic>
      <p:sp>
        <p:nvSpPr>
          <p:cNvPr id="65" name="上矢印 41">
            <a:extLst>
              <a:ext uri="{FF2B5EF4-FFF2-40B4-BE49-F238E27FC236}">
                <a16:creationId xmlns:a16="http://schemas.microsoft.com/office/drawing/2014/main" id="{EFAAFACD-692D-66E8-D1C2-8A881BB0C4DA}"/>
              </a:ext>
            </a:extLst>
          </p:cNvPr>
          <p:cNvSpPr>
            <a:spLocks/>
          </p:cNvSpPr>
          <p:nvPr/>
        </p:nvSpPr>
        <p:spPr>
          <a:xfrm flipV="1">
            <a:off x="3753518" y="3547655"/>
            <a:ext cx="447479" cy="1121704"/>
          </a:xfrm>
          <a:prstGeom prst="upArrow">
            <a:avLst/>
          </a:prstGeom>
          <a:solidFill>
            <a:srgbClr val="00965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9" name="図 68">
            <a:extLst>
              <a:ext uri="{FF2B5EF4-FFF2-40B4-BE49-F238E27FC236}">
                <a16:creationId xmlns:a16="http://schemas.microsoft.com/office/drawing/2014/main" id="{8681E176-5AA9-52F7-32F4-05F2B937855D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010607" y="3623719"/>
            <a:ext cx="473301" cy="540000"/>
          </a:xfrm>
          <a:prstGeom prst="rect">
            <a:avLst/>
          </a:prstGeom>
        </p:spPr>
      </p:pic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8FE51609-B606-270E-8DAF-EC378CDD4AAB}"/>
              </a:ext>
            </a:extLst>
          </p:cNvPr>
          <p:cNvSpPr txBox="1"/>
          <p:nvPr/>
        </p:nvSpPr>
        <p:spPr>
          <a:xfrm>
            <a:off x="278413" y="3040766"/>
            <a:ext cx="22365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［ホームボタンのある機種］</a:t>
            </a:r>
          </a:p>
        </p:txBody>
      </p:sp>
      <p:sp>
        <p:nvSpPr>
          <p:cNvPr id="78" name="テキスト ボックス 77">
            <a:extLst>
              <a:ext uri="{FF2B5EF4-FFF2-40B4-BE49-F238E27FC236}">
                <a16:creationId xmlns:a16="http://schemas.microsoft.com/office/drawing/2014/main" id="{6B4BE492-25CB-A841-7CD8-101BA5D8B5D0}"/>
              </a:ext>
            </a:extLst>
          </p:cNvPr>
          <p:cNvSpPr txBox="1"/>
          <p:nvPr/>
        </p:nvSpPr>
        <p:spPr>
          <a:xfrm>
            <a:off x="2485770" y="3036616"/>
            <a:ext cx="2185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［ホームボタンの無い機種］</a:t>
            </a:r>
          </a:p>
        </p:txBody>
      </p:sp>
      <p:pic>
        <p:nvPicPr>
          <p:cNvPr id="80" name="図 79">
            <a:extLst>
              <a:ext uri="{FF2B5EF4-FFF2-40B4-BE49-F238E27FC236}">
                <a16:creationId xmlns:a16="http://schemas.microsoft.com/office/drawing/2014/main" id="{6BD2F585-0BC5-2E06-7B5C-7B93BDA5284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61442" y="2854961"/>
            <a:ext cx="1860747" cy="3492208"/>
          </a:xfrm>
          <a:prstGeom prst="rect">
            <a:avLst/>
          </a:prstGeom>
        </p:spPr>
      </p:pic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BE24E6E3-0E3D-589F-C878-EAFE6DA594E3}"/>
              </a:ext>
            </a:extLst>
          </p:cNvPr>
          <p:cNvSpPr txBox="1"/>
          <p:nvPr/>
        </p:nvSpPr>
        <p:spPr>
          <a:xfrm>
            <a:off x="5587563" y="2101203"/>
            <a:ext cx="3275759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のマークを押す</a:t>
            </a:r>
          </a:p>
        </p:txBody>
      </p:sp>
      <p:sp>
        <p:nvSpPr>
          <p:cNvPr id="87" name="正方形/長方形 86">
            <a:extLst>
              <a:ext uri="{FF2B5EF4-FFF2-40B4-BE49-F238E27FC236}">
                <a16:creationId xmlns:a16="http://schemas.microsoft.com/office/drawing/2014/main" id="{7A543562-3C4E-EBC0-7566-7B24757C80AD}"/>
              </a:ext>
            </a:extLst>
          </p:cNvPr>
          <p:cNvSpPr/>
          <p:nvPr/>
        </p:nvSpPr>
        <p:spPr>
          <a:xfrm>
            <a:off x="6093584" y="5099573"/>
            <a:ext cx="388428" cy="411952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2A8C7268-CB32-B55E-7A0D-969371DADC66}"/>
              </a:ext>
            </a:extLst>
          </p:cNvPr>
          <p:cNvSpPr txBox="1"/>
          <p:nvPr/>
        </p:nvSpPr>
        <p:spPr>
          <a:xfrm>
            <a:off x="5496360" y="477030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93" name="直線コネクタ 92">
            <a:extLst>
              <a:ext uri="{FF2B5EF4-FFF2-40B4-BE49-F238E27FC236}">
                <a16:creationId xmlns:a16="http://schemas.microsoft.com/office/drawing/2014/main" id="{7C50BEB4-BE6B-0872-1B09-49B1E574DCB3}"/>
              </a:ext>
            </a:extLst>
          </p:cNvPr>
          <p:cNvCxnSpPr>
            <a:cxnSpLocks/>
          </p:cNvCxnSpPr>
          <p:nvPr/>
        </p:nvCxnSpPr>
        <p:spPr>
          <a:xfrm flipH="1">
            <a:off x="2430746" y="2854961"/>
            <a:ext cx="27587" cy="3598195"/>
          </a:xfrm>
          <a:prstGeom prst="line">
            <a:avLst/>
          </a:prstGeom>
          <a:ln w="1587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矢印: 右 95">
            <a:extLst>
              <a:ext uri="{FF2B5EF4-FFF2-40B4-BE49-F238E27FC236}">
                <a16:creationId xmlns:a16="http://schemas.microsoft.com/office/drawing/2014/main" id="{1110070C-C4F7-C605-BEB9-34BFF0CC0469}"/>
              </a:ext>
            </a:extLst>
          </p:cNvPr>
          <p:cNvSpPr/>
          <p:nvPr/>
        </p:nvSpPr>
        <p:spPr>
          <a:xfrm>
            <a:off x="4442484" y="4197092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" name="矢印: 右 1">
            <a:extLst>
              <a:ext uri="{FF2B5EF4-FFF2-40B4-BE49-F238E27FC236}">
                <a16:creationId xmlns:a16="http://schemas.microsoft.com/office/drawing/2014/main" id="{A419A2DB-2A62-3E66-EF6A-C4470D7413B4}"/>
              </a:ext>
            </a:extLst>
          </p:cNvPr>
          <p:cNvSpPr/>
          <p:nvPr/>
        </p:nvSpPr>
        <p:spPr>
          <a:xfrm>
            <a:off x="7763653" y="4197091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061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8001" y="200665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46820" y="2091716"/>
            <a:ext cx="327575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取りたい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を真ん中の白枠の中にピントが合うように映しこむ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073960" y="196886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4352771" cy="436146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読み取りの別の方法</a:t>
            </a:r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E3DFF2DA-34C6-1F85-AC7B-4B94F9B2FA85}"/>
              </a:ext>
            </a:extLst>
          </p:cNvPr>
          <p:cNvSpPr txBox="1"/>
          <p:nvPr/>
        </p:nvSpPr>
        <p:spPr>
          <a:xfrm>
            <a:off x="3996015" y="3007506"/>
            <a:ext cx="36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右</a:t>
            </a:r>
          </a:p>
        </p:txBody>
      </p:sp>
      <p:pic>
        <p:nvPicPr>
          <p:cNvPr id="75" name="図 74" descr="テキスト が含まれている画像&#10;&#10;自動的に生成された説明">
            <a:extLst>
              <a:ext uri="{FF2B5EF4-FFF2-40B4-BE49-F238E27FC236}">
                <a16:creationId xmlns:a16="http://schemas.microsoft.com/office/drawing/2014/main" id="{C19A74F9-C54F-5E73-3D5E-258A999577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1666" y="3021329"/>
            <a:ext cx="1831754" cy="3258080"/>
          </a:xfrm>
          <a:prstGeom prst="rect">
            <a:avLst/>
          </a:prstGeom>
        </p:spPr>
      </p:pic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BE24E6E3-0E3D-589F-C878-EAFE6DA594E3}"/>
              </a:ext>
            </a:extLst>
          </p:cNvPr>
          <p:cNvSpPr txBox="1"/>
          <p:nvPr/>
        </p:nvSpPr>
        <p:spPr>
          <a:xfrm>
            <a:off x="5587563" y="2101203"/>
            <a:ext cx="3275759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取りが成功すると自動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ページが移動します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E80A0A22-4E13-7D3C-B219-A6794A08B8DC}"/>
              </a:ext>
            </a:extLst>
          </p:cNvPr>
          <p:cNvSpPr/>
          <p:nvPr/>
        </p:nvSpPr>
        <p:spPr>
          <a:xfrm>
            <a:off x="1705185" y="3960402"/>
            <a:ext cx="1426844" cy="1394677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5" name="図 24" descr="QR コード&#10;&#10;自動的に生成された説明">
            <a:extLst>
              <a:ext uri="{FF2B5EF4-FFF2-40B4-BE49-F238E27FC236}">
                <a16:creationId xmlns:a16="http://schemas.microsoft.com/office/drawing/2014/main" id="{7414C344-C782-4FE8-6B5B-F86A22DCAB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93467" y="4234843"/>
            <a:ext cx="778333" cy="778333"/>
          </a:xfrm>
          <a:prstGeom prst="rect">
            <a:avLst/>
          </a:prstGeom>
        </p:spPr>
      </p:pic>
      <p:pic>
        <p:nvPicPr>
          <p:cNvPr id="72" name="図 71" descr="QR コード&#10;&#10;自動的に生成された説明">
            <a:extLst>
              <a:ext uri="{FF2B5EF4-FFF2-40B4-BE49-F238E27FC236}">
                <a16:creationId xmlns:a16="http://schemas.microsoft.com/office/drawing/2014/main" id="{8EF69734-3AF9-771A-175C-EF5902F2FC3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1061" b="8373"/>
          <a:stretch/>
        </p:blipFill>
        <p:spPr>
          <a:xfrm>
            <a:off x="5868144" y="3021338"/>
            <a:ext cx="1865768" cy="32580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9" name="矢印: 右 78">
            <a:extLst>
              <a:ext uri="{FF2B5EF4-FFF2-40B4-BE49-F238E27FC236}">
                <a16:creationId xmlns:a16="http://schemas.microsoft.com/office/drawing/2014/main" id="{00F6CA32-892D-FCB3-B0B9-670EDA1045B6}"/>
              </a:ext>
            </a:extLst>
          </p:cNvPr>
          <p:cNvSpPr/>
          <p:nvPr/>
        </p:nvSpPr>
        <p:spPr>
          <a:xfrm>
            <a:off x="4276619" y="4186761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1" name="矢印: 右 80">
            <a:extLst>
              <a:ext uri="{FF2B5EF4-FFF2-40B4-BE49-F238E27FC236}">
                <a16:creationId xmlns:a16="http://schemas.microsoft.com/office/drawing/2014/main" id="{1099578F-1810-166E-B63A-10152D178E0C}"/>
              </a:ext>
            </a:extLst>
          </p:cNvPr>
          <p:cNvSpPr/>
          <p:nvPr/>
        </p:nvSpPr>
        <p:spPr>
          <a:xfrm>
            <a:off x="467544" y="4190742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0660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電話のかけ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電話をかけている人のイラスト">
            <a:extLst>
              <a:ext uri="{FF2B5EF4-FFF2-40B4-BE49-F238E27FC236}">
                <a16:creationId xmlns:a16="http://schemas.microsoft.com/office/drawing/2014/main" id="{F7FE10B5-09FF-41D6-9BBB-760BD8180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21" y="4200306"/>
            <a:ext cx="1230779" cy="179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A6C7579E-AAAC-C7B3-3058-88D2EB544249}"/>
              </a:ext>
            </a:extLst>
          </p:cNvPr>
          <p:cNvGrpSpPr/>
          <p:nvPr/>
        </p:nvGrpSpPr>
        <p:grpSpPr>
          <a:xfrm>
            <a:off x="899592" y="2708920"/>
            <a:ext cx="1629837" cy="3284500"/>
            <a:chOff x="963093" y="2708920"/>
            <a:chExt cx="1683367" cy="3456000"/>
          </a:xfrm>
        </p:grpSpPr>
        <p:grpSp>
          <p:nvGrpSpPr>
            <p:cNvPr id="24" name="グループ化 13">
              <a:extLst>
                <a:ext uri="{FF2B5EF4-FFF2-40B4-BE49-F238E27FC236}">
                  <a16:creationId xmlns:a16="http://schemas.microsoft.com/office/drawing/2014/main" id="{C5C60ECB-9786-7584-C1D5-CC2318846C92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8" name="図 27">
                <a:extLst>
                  <a:ext uri="{FF2B5EF4-FFF2-40B4-BE49-F238E27FC236}">
                    <a16:creationId xmlns:a16="http://schemas.microsoft.com/office/drawing/2014/main" id="{304579B2-5DFA-BBDA-7A3D-9375E85D1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9" name="正方形/長方形 28">
                <a:extLst>
                  <a:ext uri="{FF2B5EF4-FFF2-40B4-BE49-F238E27FC236}">
                    <a16:creationId xmlns:a16="http://schemas.microsoft.com/office/drawing/2014/main" id="{98E7B995-F144-3A44-C365-4F1C8650B1FB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0C073D32-5EEC-612A-D00A-834BD777D29B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26" name="図 25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53E51AFD-AA56-BCD1-6B1B-27A4F8881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7" name="図 26">
                <a:extLst>
                  <a:ext uri="{FF2B5EF4-FFF2-40B4-BE49-F238E27FC236}">
                    <a16:creationId xmlns:a16="http://schemas.microsoft.com/office/drawing/2014/main" id="{5A2D54AD-89F2-F398-4A78-5DFA9AE9BB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1D8F878F-A8E5-34A4-14FC-645C17D1D7B4}"/>
              </a:ext>
            </a:extLst>
          </p:cNvPr>
          <p:cNvGrpSpPr/>
          <p:nvPr/>
        </p:nvGrpSpPr>
        <p:grpSpPr>
          <a:xfrm>
            <a:off x="3551037" y="2753830"/>
            <a:ext cx="1776984" cy="3160663"/>
            <a:chOff x="3551037" y="2753830"/>
            <a:chExt cx="1776984" cy="3160663"/>
          </a:xfrm>
        </p:grpSpPr>
        <p:pic>
          <p:nvPicPr>
            <p:cNvPr id="14" name="図 13" descr="グラフ が含まれている画像&#10;&#10;自動的に生成された説明">
              <a:extLst>
                <a:ext uri="{FF2B5EF4-FFF2-40B4-BE49-F238E27FC236}">
                  <a16:creationId xmlns:a16="http://schemas.microsoft.com/office/drawing/2014/main" id="{D9C5A7DC-29DF-0FCB-9290-7324FF4A2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51037" y="2753830"/>
              <a:ext cx="1776984" cy="316066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A3E98811-BBB7-0DE3-BEDA-7FE0D432E084}"/>
                </a:ext>
              </a:extLst>
            </p:cNvPr>
            <p:cNvSpPr/>
            <p:nvPr/>
          </p:nvSpPr>
          <p:spPr>
            <a:xfrm>
              <a:off x="3665600" y="2769451"/>
              <a:ext cx="184608" cy="787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番号を入力して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187624" y="5252060"/>
            <a:ext cx="358255" cy="35825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9" name="円/楕円 40">
            <a:extLst>
              <a:ext uri="{FF2B5EF4-FFF2-40B4-BE49-F238E27FC236}">
                <a16:creationId xmlns:a16="http://schemas.microsoft.com/office/drawing/2014/main" id="{6CC81C77-D3A9-48AE-BCA3-620EDEA24FD1}"/>
              </a:ext>
            </a:extLst>
          </p:cNvPr>
          <p:cNvSpPr>
            <a:spLocks noChangeAspect="1"/>
          </p:cNvSpPr>
          <p:nvPr/>
        </p:nvSpPr>
        <p:spPr>
          <a:xfrm>
            <a:off x="4846589" y="4432230"/>
            <a:ext cx="196137" cy="1920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428375" y="1939064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下のメニュー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ーパッド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627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16395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24140" y="1939064"/>
            <a:ext cx="270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番号を押して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入力します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563649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85" name="図形グループ 84"/>
          <p:cNvGrpSpPr/>
          <p:nvPr/>
        </p:nvGrpSpPr>
        <p:grpSpPr>
          <a:xfrm>
            <a:off x="7067042" y="4933285"/>
            <a:ext cx="296586" cy="293005"/>
            <a:chOff x="5101121" y="3995693"/>
            <a:chExt cx="296586" cy="293005"/>
          </a:xfrm>
        </p:grpSpPr>
        <p:sp>
          <p:nvSpPr>
            <p:cNvPr id="86" name="円/楕円 8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7" name="フリーフォーム 8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" name="グループ化 5" descr="キーパッドの画面で指で番号をタップしている画像">
            <a:extLst>
              <a:ext uri="{FF2B5EF4-FFF2-40B4-BE49-F238E27FC236}">
                <a16:creationId xmlns:a16="http://schemas.microsoft.com/office/drawing/2014/main" id="{01B302C0-0221-4BDA-A90C-F7FECF668F68}"/>
              </a:ext>
            </a:extLst>
          </p:cNvPr>
          <p:cNvGrpSpPr/>
          <p:nvPr/>
        </p:nvGrpSpPr>
        <p:grpSpPr>
          <a:xfrm>
            <a:off x="6529298" y="2711108"/>
            <a:ext cx="1868191" cy="3274056"/>
            <a:chOff x="6529298" y="2711108"/>
            <a:chExt cx="1868191" cy="3274056"/>
          </a:xfrm>
        </p:grpSpPr>
        <p:pic>
          <p:nvPicPr>
            <p:cNvPr id="66" name="図 65" descr="白い背景と黒い文字&#10;&#10;中程度の精度で自動的に生成された説明">
              <a:extLst>
                <a:ext uri="{FF2B5EF4-FFF2-40B4-BE49-F238E27FC236}">
                  <a16:creationId xmlns:a16="http://schemas.microsoft.com/office/drawing/2014/main" id="{939B9D21-D2CA-4897-BF31-5C58AABB5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4187" y="2711108"/>
              <a:ext cx="1800000" cy="320159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0" name="object 24">
              <a:extLst>
                <a:ext uri="{FF2B5EF4-FFF2-40B4-BE49-F238E27FC236}">
                  <a16:creationId xmlns:a16="http://schemas.microsoft.com/office/drawing/2014/main" id="{E17F2113-A923-4380-BCC0-835BA102BC60}"/>
                </a:ext>
              </a:extLst>
            </p:cNvPr>
            <p:cNvSpPr/>
            <p:nvPr/>
          </p:nvSpPr>
          <p:spPr>
            <a:xfrm>
              <a:off x="6659813" y="3307065"/>
              <a:ext cx="678661" cy="132143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正方形/長方形 33"/>
            <p:cNvSpPr>
              <a:spLocks noChangeAspect="1"/>
            </p:cNvSpPr>
            <p:nvPr/>
          </p:nvSpPr>
          <p:spPr>
            <a:xfrm>
              <a:off x="7211256" y="5078392"/>
              <a:ext cx="504000" cy="504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92" name="図 91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7479492" y="3520823"/>
              <a:ext cx="473301" cy="540000"/>
            </a:xfrm>
            <a:prstGeom prst="rect">
              <a:avLst/>
            </a:prstGeom>
          </p:spPr>
        </p:pic>
        <p:sp>
          <p:nvSpPr>
            <p:cNvPr id="5" name="正方形/長方形 4"/>
            <p:cNvSpPr/>
            <p:nvPr/>
          </p:nvSpPr>
          <p:spPr>
            <a:xfrm>
              <a:off x="6529298" y="5666639"/>
              <a:ext cx="1868191" cy="318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88" name="図形グループ 87"/>
            <p:cNvGrpSpPr/>
            <p:nvPr/>
          </p:nvGrpSpPr>
          <p:grpSpPr>
            <a:xfrm>
              <a:off x="7926554" y="3709149"/>
              <a:ext cx="296586" cy="293005"/>
              <a:chOff x="4232441" y="3995693"/>
              <a:chExt cx="296586" cy="293005"/>
            </a:xfrm>
          </p:grpSpPr>
          <p:sp>
            <p:nvSpPr>
              <p:cNvPr id="89" name="円/楕円 88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91" name="フリーフォーム 90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93" name="図形グループ 92"/>
          <p:cNvGrpSpPr/>
          <p:nvPr/>
        </p:nvGrpSpPr>
        <p:grpSpPr>
          <a:xfrm>
            <a:off x="4463974" y="5328828"/>
            <a:ext cx="296586" cy="293005"/>
            <a:chOff x="3546641" y="3995693"/>
            <a:chExt cx="296586" cy="293005"/>
          </a:xfrm>
        </p:grpSpPr>
        <p:sp>
          <p:nvSpPr>
            <p:cNvPr id="94" name="円/楕円 9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5" name="フリーフォーム 9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6" name="図形グループ 95"/>
          <p:cNvGrpSpPr/>
          <p:nvPr/>
        </p:nvGrpSpPr>
        <p:grpSpPr>
          <a:xfrm>
            <a:off x="932185" y="4951961"/>
            <a:ext cx="296587" cy="293005"/>
            <a:chOff x="2897417" y="3995693"/>
            <a:chExt cx="296587" cy="293005"/>
          </a:xfrm>
        </p:grpSpPr>
        <p:sp>
          <p:nvSpPr>
            <p:cNvPr id="97" name="円/楕円 9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8" name="テキスト ボックス 9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70967" y="5693539"/>
            <a:ext cx="22774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緑色の受話器マーク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発信します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4647252" y="5623245"/>
            <a:ext cx="291600" cy="2916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30956046-B0DF-77B7-9999-4F770A6B82B4}"/>
              </a:ext>
            </a:extLst>
          </p:cNvPr>
          <p:cNvSpPr/>
          <p:nvPr/>
        </p:nvSpPr>
        <p:spPr>
          <a:xfrm>
            <a:off x="6701796" y="2721538"/>
            <a:ext cx="74227" cy="78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80D0BF79-E1A5-B45A-356B-D9A86782F34E}"/>
              </a:ext>
            </a:extLst>
          </p:cNvPr>
          <p:cNvGrpSpPr/>
          <p:nvPr/>
        </p:nvGrpSpPr>
        <p:grpSpPr>
          <a:xfrm>
            <a:off x="6679284" y="2709483"/>
            <a:ext cx="1662421" cy="103699"/>
            <a:chOff x="3665599" y="2744475"/>
            <a:chExt cx="1662421" cy="103699"/>
          </a:xfrm>
        </p:grpSpPr>
        <p:pic>
          <p:nvPicPr>
            <p:cNvPr id="22" name="図 21" descr="グラフ が含まれている画像&#10;&#10;自動的に生成された説明">
              <a:extLst>
                <a:ext uri="{FF2B5EF4-FFF2-40B4-BE49-F238E27FC236}">
                  <a16:creationId xmlns:a16="http://schemas.microsoft.com/office/drawing/2014/main" id="{CB2B6E28-416C-F406-0821-B7C54AAD47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6447" t="-283" b="97002"/>
            <a:stretch/>
          </p:blipFill>
          <p:spPr>
            <a:xfrm>
              <a:off x="3665599" y="2744475"/>
              <a:ext cx="1662421" cy="103699"/>
            </a:xfrm>
            <a:prstGeom prst="rect">
              <a:avLst/>
            </a:prstGeom>
            <a:ln>
              <a:noFill/>
            </a:ln>
          </p:spPr>
        </p:pic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08FE1C39-ED1D-9A73-3433-CD32C6905A15}"/>
                </a:ext>
              </a:extLst>
            </p:cNvPr>
            <p:cNvSpPr/>
            <p:nvPr/>
          </p:nvSpPr>
          <p:spPr>
            <a:xfrm>
              <a:off x="3665600" y="2769451"/>
              <a:ext cx="184608" cy="787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7B6BE74-E7FF-A8E9-D5BE-6CB78E104F11}"/>
              </a:ext>
            </a:extLst>
          </p:cNvPr>
          <p:cNvSpPr txBox="1"/>
          <p:nvPr/>
        </p:nvSpPr>
        <p:spPr>
          <a:xfrm>
            <a:off x="729399" y="1939050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電話」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矢印: 右 30">
            <a:extLst>
              <a:ext uri="{FF2B5EF4-FFF2-40B4-BE49-F238E27FC236}">
                <a16:creationId xmlns:a16="http://schemas.microsoft.com/office/drawing/2014/main" id="{58AEF84F-EC67-9CDC-A8A3-86F447093F0E}"/>
              </a:ext>
            </a:extLst>
          </p:cNvPr>
          <p:cNvSpPr/>
          <p:nvPr/>
        </p:nvSpPr>
        <p:spPr>
          <a:xfrm>
            <a:off x="2693044" y="3956717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32" name="矢印: 右 31">
            <a:extLst>
              <a:ext uri="{FF2B5EF4-FFF2-40B4-BE49-F238E27FC236}">
                <a16:creationId xmlns:a16="http://schemas.microsoft.com/office/drawing/2014/main" id="{2BC85A14-1E18-4020-EBFF-E32F95C42669}"/>
              </a:ext>
            </a:extLst>
          </p:cNvPr>
          <p:cNvSpPr/>
          <p:nvPr/>
        </p:nvSpPr>
        <p:spPr>
          <a:xfrm>
            <a:off x="5658068" y="392037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C4192B9-9F54-1736-C2F9-6494CD731194}"/>
              </a:ext>
            </a:extLst>
          </p:cNvPr>
          <p:cNvSpPr txBox="1"/>
          <p:nvPr/>
        </p:nvSpPr>
        <p:spPr>
          <a:xfrm>
            <a:off x="7175410" y="1330907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3460787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図 30">
            <a:extLst>
              <a:ext uri="{FF2B5EF4-FFF2-40B4-BE49-F238E27FC236}">
                <a16:creationId xmlns:a16="http://schemas.microsoft.com/office/drawing/2014/main" id="{69DB7908-15F9-4E2B-91AA-FA40403A12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1650" y="2348880"/>
            <a:ext cx="1882408" cy="3780000"/>
          </a:xfrm>
          <a:prstGeom prst="rect">
            <a:avLst/>
          </a:prstGeom>
        </p:spPr>
      </p:pic>
      <p:pic>
        <p:nvPicPr>
          <p:cNvPr id="35" name="図 34">
            <a:extLst>
              <a:ext uri="{FF2B5EF4-FFF2-40B4-BE49-F238E27FC236}">
                <a16:creationId xmlns:a16="http://schemas.microsoft.com/office/drawing/2014/main" id="{1B8A398A-534D-4654-9369-47054FD7AB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48104" y="2348880"/>
            <a:ext cx="1895904" cy="3780000"/>
          </a:xfrm>
          <a:prstGeom prst="rect">
            <a:avLst/>
          </a:prstGeom>
          <a:grpFill/>
          <a:ln>
            <a:solidFill>
              <a:schemeClr val="bg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10953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44636" y="1401299"/>
            <a:ext cx="25100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い受話器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電話が切れま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278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13278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58675" y="1426034"/>
            <a:ext cx="41328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が繋がると通話時間が表示されま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正方形/長方形 40"/>
          <p:cNvSpPr>
            <a:spLocks/>
          </p:cNvSpPr>
          <p:nvPr/>
        </p:nvSpPr>
        <p:spPr>
          <a:xfrm>
            <a:off x="3342721" y="3019147"/>
            <a:ext cx="676704" cy="18219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7" name="直線矢印コネクタ 6"/>
          <p:cNvCxnSpPr/>
          <p:nvPr/>
        </p:nvCxnSpPr>
        <p:spPr>
          <a:xfrm>
            <a:off x="2183920" y="3066421"/>
            <a:ext cx="104400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グループ化 2" descr="電話を切るために赤い電話のアイコンを指でタップしている画像">
            <a:extLst>
              <a:ext uri="{FF2B5EF4-FFF2-40B4-BE49-F238E27FC236}">
                <a16:creationId xmlns:a16="http://schemas.microsoft.com/office/drawing/2014/main" id="{639426AC-D960-46EF-A3E4-C19D4338E776}"/>
              </a:ext>
            </a:extLst>
          </p:cNvPr>
          <p:cNvGrpSpPr/>
          <p:nvPr/>
        </p:nvGrpSpPr>
        <p:grpSpPr>
          <a:xfrm>
            <a:off x="6683989" y="2348880"/>
            <a:ext cx="1895904" cy="3851401"/>
            <a:chOff x="6683989" y="2348880"/>
            <a:chExt cx="1895904" cy="3851401"/>
          </a:xfrm>
        </p:grpSpPr>
        <p:grpSp>
          <p:nvGrpSpPr>
            <p:cNvPr id="27" name="グループ化 28"/>
            <p:cNvGrpSpPr>
              <a:grpSpLocks noChangeAspect="1"/>
            </p:cNvGrpSpPr>
            <p:nvPr/>
          </p:nvGrpSpPr>
          <p:grpSpPr>
            <a:xfrm>
              <a:off x="6683989" y="2348880"/>
              <a:ext cx="1895904" cy="3780000"/>
              <a:chOff x="4076228" y="2805427"/>
              <a:chExt cx="2000905" cy="3989349"/>
            </a:xfrm>
            <a:gradFill>
              <a:gsLst>
                <a:gs pos="49700">
                  <a:srgbClr val="3C2922"/>
                </a:gs>
                <a:gs pos="0">
                  <a:srgbClr val="38211A"/>
                </a:gs>
                <a:gs pos="100000">
                  <a:srgbClr val="231E20"/>
                </a:gs>
              </a:gsLst>
              <a:lin ang="3600000" scaled="0"/>
            </a:gradFill>
          </p:grpSpPr>
          <p:pic>
            <p:nvPicPr>
              <p:cNvPr id="28" name="図 27">
                <a:extLst>
                  <a:ext uri="{FF2B5EF4-FFF2-40B4-BE49-F238E27FC236}">
                    <a16:creationId xmlns:a16="http://schemas.microsoft.com/office/drawing/2014/main" id="{1B8A398A-534D-4654-9369-47054FD7AB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76228" y="2805427"/>
                <a:ext cx="2000905" cy="3989349"/>
              </a:xfrm>
              <a:prstGeom prst="rect">
                <a:avLst/>
              </a:prstGeom>
              <a:grpFill/>
            </p:spPr>
          </p:pic>
          <p:sp>
            <p:nvSpPr>
              <p:cNvPr id="29" name="正方形/長方形 28">
                <a:extLst>
                  <a:ext uri="{FF2B5EF4-FFF2-40B4-BE49-F238E27FC236}">
                    <a16:creationId xmlns:a16="http://schemas.microsoft.com/office/drawing/2014/main" id="{9CD17EEB-5DE6-4988-B6E5-22D028AC4FEA}"/>
                  </a:ext>
                </a:extLst>
              </p:cNvPr>
              <p:cNvSpPr/>
              <p:nvPr/>
            </p:nvSpPr>
            <p:spPr>
              <a:xfrm>
                <a:off x="4378726" y="3303977"/>
                <a:ext cx="692324" cy="180000"/>
              </a:xfrm>
              <a:prstGeom prst="rect">
                <a:avLst/>
              </a:prstGeom>
              <a:gradFill>
                <a:gsLst>
                  <a:gs pos="49700">
                    <a:srgbClr val="3C2922"/>
                  </a:gs>
                  <a:gs pos="0">
                    <a:srgbClr val="231E20"/>
                  </a:gs>
                  <a:gs pos="100000">
                    <a:srgbClr val="3C2922"/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34" name="正方形/長方形 33"/>
            <p:cNvSpPr/>
            <p:nvPr/>
          </p:nvSpPr>
          <p:spPr>
            <a:xfrm>
              <a:off x="7358579" y="5370026"/>
              <a:ext cx="540000" cy="540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71" name="図 70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7816964" y="5660281"/>
              <a:ext cx="473301" cy="540000"/>
            </a:xfrm>
            <a:prstGeom prst="rect">
              <a:avLst/>
            </a:prstGeom>
          </p:spPr>
        </p:pic>
        <p:grpSp>
          <p:nvGrpSpPr>
            <p:cNvPr id="42" name="図形グループ 41"/>
            <p:cNvGrpSpPr/>
            <p:nvPr/>
          </p:nvGrpSpPr>
          <p:grpSpPr>
            <a:xfrm>
              <a:off x="7213355" y="5216344"/>
              <a:ext cx="296586" cy="293005"/>
              <a:chOff x="6801905" y="3995693"/>
              <a:chExt cx="296586" cy="293005"/>
            </a:xfrm>
          </p:grpSpPr>
          <p:sp>
            <p:nvSpPr>
              <p:cNvPr id="43" name="円/楕円 42"/>
              <p:cNvSpPr/>
              <p:nvPr/>
            </p:nvSpPr>
            <p:spPr>
              <a:xfrm>
                <a:off x="6803136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4" name="フリーフォーム 43"/>
              <p:cNvSpPr/>
              <p:nvPr/>
            </p:nvSpPr>
            <p:spPr>
              <a:xfrm>
                <a:off x="6801905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46991"/>
                    </a:moveTo>
                    <a:cubicBezTo>
                      <a:pt x="153991" y="146991"/>
                      <a:pt x="160882" y="148565"/>
                      <a:pt x="164897" y="151712"/>
                    </a:cubicBezTo>
                    <a:cubicBezTo>
                      <a:pt x="171408" y="156812"/>
                      <a:pt x="174664" y="165331"/>
                      <a:pt x="174664" y="177268"/>
                    </a:cubicBezTo>
                    <a:cubicBezTo>
                      <a:pt x="174664" y="187686"/>
                      <a:pt x="172168" y="195852"/>
                      <a:pt x="167176" y="201767"/>
                    </a:cubicBezTo>
                    <a:cubicBezTo>
                      <a:pt x="162184" y="207681"/>
                      <a:pt x="155456" y="210638"/>
                      <a:pt x="146991" y="210638"/>
                    </a:cubicBezTo>
                    <a:cubicBezTo>
                      <a:pt x="137550" y="210638"/>
                      <a:pt x="130225" y="206108"/>
                      <a:pt x="125016" y="197046"/>
                    </a:cubicBezTo>
                    <a:cubicBezTo>
                      <a:pt x="119807" y="187985"/>
                      <a:pt x="117202" y="175423"/>
                      <a:pt x="117202" y="159362"/>
                    </a:cubicBezTo>
                    <a:cubicBezTo>
                      <a:pt x="117202" y="158928"/>
                      <a:pt x="117283" y="158006"/>
                      <a:pt x="117446" y="156595"/>
                    </a:cubicBezTo>
                    <a:cubicBezTo>
                      <a:pt x="117609" y="155184"/>
                      <a:pt x="117690" y="153991"/>
                      <a:pt x="117690" y="153014"/>
                    </a:cubicBezTo>
                    <a:cubicBezTo>
                      <a:pt x="126698" y="148999"/>
                      <a:pt x="135542" y="146991"/>
                      <a:pt x="144224" y="146991"/>
                    </a:cubicBezTo>
                    <a:close/>
                    <a:moveTo>
                      <a:pt x="168315" y="46718"/>
                    </a:moveTo>
                    <a:cubicBezTo>
                      <a:pt x="138255" y="46718"/>
                      <a:pt x="115194" y="56756"/>
                      <a:pt x="99133" y="76832"/>
                    </a:cubicBezTo>
                    <a:cubicBezTo>
                      <a:pt x="83941" y="95932"/>
                      <a:pt x="76344" y="122411"/>
                      <a:pt x="76344" y="156269"/>
                    </a:cubicBezTo>
                    <a:cubicBezTo>
                      <a:pt x="76344" y="187632"/>
                      <a:pt x="83886" y="211344"/>
                      <a:pt x="98971" y="227405"/>
                    </a:cubicBezTo>
                    <a:cubicBezTo>
                      <a:pt x="110365" y="239559"/>
                      <a:pt x="126372" y="245636"/>
                      <a:pt x="146991" y="245636"/>
                    </a:cubicBezTo>
                    <a:cubicBezTo>
                      <a:pt x="165765" y="245636"/>
                      <a:pt x="181772" y="239342"/>
                      <a:pt x="195011" y="226754"/>
                    </a:cubicBezTo>
                    <a:cubicBezTo>
                      <a:pt x="208793" y="213514"/>
                      <a:pt x="215684" y="196693"/>
                      <a:pt x="215684" y="176292"/>
                    </a:cubicBezTo>
                    <a:cubicBezTo>
                      <a:pt x="215684" y="152960"/>
                      <a:pt x="207654" y="135651"/>
                      <a:pt x="191593" y="124364"/>
                    </a:cubicBezTo>
                    <a:cubicBezTo>
                      <a:pt x="182043" y="117636"/>
                      <a:pt x="168152" y="114272"/>
                      <a:pt x="149921" y="114272"/>
                    </a:cubicBezTo>
                    <a:cubicBezTo>
                      <a:pt x="138743" y="114272"/>
                      <a:pt x="128977" y="117528"/>
                      <a:pt x="120620" y="124039"/>
                    </a:cubicBezTo>
                    <a:cubicBezTo>
                      <a:pt x="127891" y="95824"/>
                      <a:pt x="142650" y="81716"/>
                      <a:pt x="164897" y="81716"/>
                    </a:cubicBezTo>
                    <a:cubicBezTo>
                      <a:pt x="177377" y="81716"/>
                      <a:pt x="186818" y="84049"/>
                      <a:pt x="193221" y="88715"/>
                    </a:cubicBezTo>
                    <a:lnTo>
                      <a:pt x="197616" y="88715"/>
                    </a:lnTo>
                    <a:lnTo>
                      <a:pt x="197616" y="51601"/>
                    </a:lnTo>
                    <a:cubicBezTo>
                      <a:pt x="187849" y="48346"/>
                      <a:pt x="178082" y="46718"/>
                      <a:pt x="168315" y="46718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22B593B1-E8F2-4ED6-A356-F8EE7C8D4712}"/>
              </a:ext>
            </a:extLst>
          </p:cNvPr>
          <p:cNvSpPr txBox="1"/>
          <p:nvPr/>
        </p:nvSpPr>
        <p:spPr>
          <a:xfrm>
            <a:off x="4644009" y="4217072"/>
            <a:ext cx="180062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＊スピーカーのアイコンを押すと、音声がスピーカーから出るようになり、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耳から離して電話ができます</a:t>
            </a:r>
          </a:p>
        </p:txBody>
      </p:sp>
      <p:sp>
        <p:nvSpPr>
          <p:cNvPr id="38" name="円/楕円 2">
            <a:extLst>
              <a:ext uri="{FF2B5EF4-FFF2-40B4-BE49-F238E27FC236}">
                <a16:creationId xmlns:a16="http://schemas.microsoft.com/office/drawing/2014/main" id="{095A7FD7-5FAE-493E-BE8F-7EFFBDF82128}"/>
              </a:ext>
            </a:extLst>
          </p:cNvPr>
          <p:cNvSpPr/>
          <p:nvPr/>
        </p:nvSpPr>
        <p:spPr>
          <a:xfrm>
            <a:off x="3997983" y="3795648"/>
            <a:ext cx="432000" cy="432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39" name="カギ線コネクタ 39">
            <a:extLst>
              <a:ext uri="{FF2B5EF4-FFF2-40B4-BE49-F238E27FC236}">
                <a16:creationId xmlns:a16="http://schemas.microsoft.com/office/drawing/2014/main" id="{2FD18E1E-0AFF-496C-AD36-4AD3D34B2FDC}"/>
              </a:ext>
            </a:extLst>
          </p:cNvPr>
          <p:cNvCxnSpPr/>
          <p:nvPr/>
        </p:nvCxnSpPr>
        <p:spPr>
          <a:xfrm rot="10800000" flipH="1" flipV="1">
            <a:off x="4443615" y="4011648"/>
            <a:ext cx="648000" cy="180000"/>
          </a:xfrm>
          <a:prstGeom prst="bentConnector3">
            <a:avLst>
              <a:gd name="adj1" fmla="val 98942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図 11">
            <a:extLst>
              <a:ext uri="{FF2B5EF4-FFF2-40B4-BE49-F238E27FC236}">
                <a16:creationId xmlns:a16="http://schemas.microsoft.com/office/drawing/2014/main" id="{A7C68B7F-0E62-55CE-BF8B-D66DF5B47C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91311" y="3027526"/>
            <a:ext cx="855102" cy="223723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0F297312-B266-5DFA-3376-F753C83B56B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6390" t="13363" r="-1" b="7959"/>
          <a:stretch/>
        </p:blipFill>
        <p:spPr>
          <a:xfrm>
            <a:off x="1509806" y="3027526"/>
            <a:ext cx="547747" cy="154886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3ABD4360-1EEA-C708-FBE0-31B43DB1B00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63720" y="2821268"/>
            <a:ext cx="1092256" cy="167363"/>
          </a:xfrm>
          <a:prstGeom prst="rect">
            <a:avLst/>
          </a:prstGeom>
        </p:spPr>
      </p:pic>
      <p:pic>
        <p:nvPicPr>
          <p:cNvPr id="17" name="図 16">
            <a:extLst>
              <a:ext uri="{FF2B5EF4-FFF2-40B4-BE49-F238E27FC236}">
                <a16:creationId xmlns:a16="http://schemas.microsoft.com/office/drawing/2014/main" id="{08D07F92-EA29-C16E-0C36-D25F04F45E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" r="74718" b="-1"/>
          <a:stretch/>
        </p:blipFill>
        <p:spPr>
          <a:xfrm>
            <a:off x="2985272" y="2829091"/>
            <a:ext cx="276141" cy="167363"/>
          </a:xfrm>
          <a:prstGeom prst="rect">
            <a:avLst/>
          </a:prstGeom>
        </p:spPr>
      </p:pic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C003F999-1CD7-8825-F574-1DA8925EA03A}"/>
              </a:ext>
            </a:extLst>
          </p:cNvPr>
          <p:cNvSpPr txBox="1"/>
          <p:nvPr/>
        </p:nvSpPr>
        <p:spPr>
          <a:xfrm>
            <a:off x="3047317" y="2689175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-1234-5678</a:t>
            </a:r>
            <a:endParaRPr kumimoji="1" lang="ja-JP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2AD6C2BD-36E9-62D3-E11B-A4ADD6738A1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27840" y="2821268"/>
            <a:ext cx="1092256" cy="167363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1B567146-9F90-6C10-0DCF-E9CF01AA77F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" r="74718" b="-1"/>
          <a:stretch/>
        </p:blipFill>
        <p:spPr>
          <a:xfrm>
            <a:off x="1049392" y="2829091"/>
            <a:ext cx="276141" cy="167363"/>
          </a:xfrm>
          <a:prstGeom prst="rect">
            <a:avLst/>
          </a:prstGeom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2788BCD6-13B7-1C6D-213D-FD3DDC7A5E76}"/>
              </a:ext>
            </a:extLst>
          </p:cNvPr>
          <p:cNvSpPr txBox="1"/>
          <p:nvPr/>
        </p:nvSpPr>
        <p:spPr>
          <a:xfrm>
            <a:off x="1091665" y="2719749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-1234-5678</a:t>
            </a:r>
            <a:endParaRPr kumimoji="1" lang="ja-JP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3438B622-8F6C-2B39-EA16-8AE9CC5ECFA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50094" y="2821268"/>
            <a:ext cx="1092256" cy="167363"/>
          </a:xfrm>
          <a:prstGeom prst="rect">
            <a:avLst/>
          </a:prstGeom>
        </p:spPr>
      </p:pic>
      <p:pic>
        <p:nvPicPr>
          <p:cNvPr id="22" name="図 21">
            <a:extLst>
              <a:ext uri="{FF2B5EF4-FFF2-40B4-BE49-F238E27FC236}">
                <a16:creationId xmlns:a16="http://schemas.microsoft.com/office/drawing/2014/main" id="{A05909B6-FE2C-5AE4-9416-47EFC089881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" r="74718" b="-1"/>
          <a:stretch/>
        </p:blipFill>
        <p:spPr>
          <a:xfrm>
            <a:off x="6971646" y="2829091"/>
            <a:ext cx="276141" cy="167363"/>
          </a:xfrm>
          <a:prstGeom prst="rect">
            <a:avLst/>
          </a:prstGeom>
        </p:spPr>
      </p:pic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423D23FB-2771-FCFC-F1C8-56DB834E85E3}"/>
              </a:ext>
            </a:extLst>
          </p:cNvPr>
          <p:cNvSpPr txBox="1"/>
          <p:nvPr/>
        </p:nvSpPr>
        <p:spPr>
          <a:xfrm>
            <a:off x="7010485" y="2719749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-1234-5678</a:t>
            </a:r>
            <a:endParaRPr kumimoji="1" lang="ja-JP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図形グループ 44"/>
          <p:cNvGrpSpPr/>
          <p:nvPr/>
        </p:nvGrpSpPr>
        <p:grpSpPr>
          <a:xfrm>
            <a:off x="1110995" y="3027526"/>
            <a:ext cx="296586" cy="293005"/>
            <a:chOff x="587836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1" name="矢印: 右 10">
            <a:extLst>
              <a:ext uri="{FF2B5EF4-FFF2-40B4-BE49-F238E27FC236}">
                <a16:creationId xmlns:a16="http://schemas.microsoft.com/office/drawing/2014/main" id="{8BF6347C-6A9C-038F-C11F-9B582AF1F806}"/>
              </a:ext>
            </a:extLst>
          </p:cNvPr>
          <p:cNvSpPr/>
          <p:nvPr/>
        </p:nvSpPr>
        <p:spPr>
          <a:xfrm>
            <a:off x="5058203" y="3221908"/>
            <a:ext cx="1136253" cy="495773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764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2F0C1FB2-43F5-D07E-6813-3AA6DD5F4EF0}"/>
              </a:ext>
            </a:extLst>
          </p:cNvPr>
          <p:cNvGrpSpPr/>
          <p:nvPr/>
        </p:nvGrpSpPr>
        <p:grpSpPr>
          <a:xfrm>
            <a:off x="886892" y="2708920"/>
            <a:ext cx="1629837" cy="3284500"/>
            <a:chOff x="963093" y="2708920"/>
            <a:chExt cx="1683367" cy="3456000"/>
          </a:xfrm>
        </p:grpSpPr>
        <p:grpSp>
          <p:nvGrpSpPr>
            <p:cNvPr id="17" name="グループ化 13">
              <a:extLst>
                <a:ext uri="{FF2B5EF4-FFF2-40B4-BE49-F238E27FC236}">
                  <a16:creationId xmlns:a16="http://schemas.microsoft.com/office/drawing/2014/main" id="{5A625F42-99A0-8311-79AC-DFDDF9AA70B4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2" name="図 21">
                <a:extLst>
                  <a:ext uri="{FF2B5EF4-FFF2-40B4-BE49-F238E27FC236}">
                    <a16:creationId xmlns:a16="http://schemas.microsoft.com/office/drawing/2014/main" id="{DCC101D5-1067-49C4-B58B-970B25FC66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3" name="正方形/長方形 22">
                <a:extLst>
                  <a:ext uri="{FF2B5EF4-FFF2-40B4-BE49-F238E27FC236}">
                    <a16:creationId xmlns:a16="http://schemas.microsoft.com/office/drawing/2014/main" id="{8D2A2425-2893-C1BC-E77E-A4C304881454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18" name="グループ化 17">
              <a:extLst>
                <a:ext uri="{FF2B5EF4-FFF2-40B4-BE49-F238E27FC236}">
                  <a16:creationId xmlns:a16="http://schemas.microsoft.com/office/drawing/2014/main" id="{BD9F651E-3D19-A2E2-2661-69134449C634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19" name="図 18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1416E42E-5B7D-F60F-906B-DF743C2D09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1" name="図 20">
                <a:extLst>
                  <a:ext uri="{FF2B5EF4-FFF2-40B4-BE49-F238E27FC236}">
                    <a16:creationId xmlns:a16="http://schemas.microsoft.com/office/drawing/2014/main" id="{11E35B88-DF86-ADF1-CB35-E50943DD11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pSp>
        <p:nvGrpSpPr>
          <p:cNvPr id="5" name="図形グループ 4" descr="「電話」の「着信履歴」画面の画像"/>
          <p:cNvGrpSpPr/>
          <p:nvPr/>
        </p:nvGrpSpPr>
        <p:grpSpPr>
          <a:xfrm>
            <a:off x="3644522" y="2711920"/>
            <a:ext cx="1980000" cy="3458202"/>
            <a:chOff x="3644522" y="2711920"/>
            <a:chExt cx="1980000" cy="3458202"/>
          </a:xfrm>
        </p:grpSpPr>
        <p:pic>
          <p:nvPicPr>
            <p:cNvPr id="81" name="図 80">
              <a:extLst>
                <a:ext uri="{FF2B5EF4-FFF2-40B4-BE49-F238E27FC236}">
                  <a16:creationId xmlns:a16="http://schemas.microsoft.com/office/drawing/2014/main" id="{7DC16B03-048B-4CF6-A1B8-04C345ED3B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295"/>
            <a:stretch/>
          </p:blipFill>
          <p:spPr>
            <a:xfrm>
              <a:off x="3644522" y="2711920"/>
              <a:ext cx="1980000" cy="345820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2" name="図 81">
              <a:extLst>
                <a:ext uri="{FF2B5EF4-FFF2-40B4-BE49-F238E27FC236}">
                  <a16:creationId xmlns:a16="http://schemas.microsoft.com/office/drawing/2014/main" id="{C4F833C2-E074-441F-9CB7-F6E60FAFE6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3444" b="57248"/>
            <a:stretch/>
          </p:blipFill>
          <p:spPr>
            <a:xfrm>
              <a:off x="3666142" y="3386503"/>
              <a:ext cx="1937326" cy="102684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3" name="図 82">
              <a:extLst>
                <a:ext uri="{FF2B5EF4-FFF2-40B4-BE49-F238E27FC236}">
                  <a16:creationId xmlns:a16="http://schemas.microsoft.com/office/drawing/2014/main" id="{214EF0FF-668F-452F-BA4F-55DB2221F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653827" y="2863365"/>
              <a:ext cx="1964742" cy="543873"/>
            </a:xfrm>
            <a:prstGeom prst="rect">
              <a:avLst/>
            </a:prstGeom>
          </p:spPr>
        </p:pic>
        <p:pic>
          <p:nvPicPr>
            <p:cNvPr id="84" name="図 83">
              <a:extLst>
                <a:ext uri="{FF2B5EF4-FFF2-40B4-BE49-F238E27FC236}">
                  <a16:creationId xmlns:a16="http://schemas.microsoft.com/office/drawing/2014/main" id="{A010515F-6DEB-4D02-8CB8-E2E6EE75EA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666653" y="5910179"/>
              <a:ext cx="1947701" cy="251317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11" imgW="554" imgH="551" progId="TCLayout.ActiveDocument.1">
                  <p:embed/>
                </p:oleObj>
              </mc:Choice>
              <mc:Fallback>
                <p:oleObj name="think-cell スライド" r:id="rId11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着信履歴を使ってかける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444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いままで来た着信履歴を使って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180350" y="5247326"/>
            <a:ext cx="341914" cy="3419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5" name="正方形/長方形 34"/>
          <p:cNvSpPr/>
          <p:nvPr/>
        </p:nvSpPr>
        <p:spPr>
          <a:xfrm>
            <a:off x="4035347" y="5842816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023888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5006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45860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電話番号を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28608" y="4088171"/>
            <a:ext cx="270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かった後は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5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と</a:t>
            </a:r>
          </a:p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同じです</a:t>
            </a:r>
          </a:p>
        </p:txBody>
      </p:sp>
      <p:grpSp>
        <p:nvGrpSpPr>
          <p:cNvPr id="3" name="グループ化 2" descr="「着信履歴」画面の一覧から電話をかけたい人の名前を指で選択している画像">
            <a:extLst>
              <a:ext uri="{FF2B5EF4-FFF2-40B4-BE49-F238E27FC236}">
                <a16:creationId xmlns:a16="http://schemas.microsoft.com/office/drawing/2014/main" id="{52518322-5225-4DAE-94F0-7CED431FB060}"/>
              </a:ext>
            </a:extLst>
          </p:cNvPr>
          <p:cNvGrpSpPr/>
          <p:nvPr/>
        </p:nvGrpSpPr>
        <p:grpSpPr>
          <a:xfrm>
            <a:off x="6297350" y="2711920"/>
            <a:ext cx="2054850" cy="1324125"/>
            <a:chOff x="6297350" y="2711920"/>
            <a:chExt cx="2054850" cy="1324125"/>
          </a:xfrm>
        </p:grpSpPr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7FB51831-0613-4CBE-86B1-DB5F7BDF12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372200" y="2711920"/>
              <a:ext cx="1980000" cy="132412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61" name="正方形/長方形 60"/>
            <p:cNvSpPr/>
            <p:nvPr/>
          </p:nvSpPr>
          <p:spPr>
            <a:xfrm>
              <a:off x="6297350" y="3358998"/>
              <a:ext cx="1584000" cy="396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92" name="図 91"/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7213886" y="3448815"/>
              <a:ext cx="473301" cy="540000"/>
            </a:xfrm>
            <a:prstGeom prst="rect">
              <a:avLst/>
            </a:prstGeom>
          </p:spPr>
        </p:pic>
      </p:grpSp>
      <p:grpSp>
        <p:nvGrpSpPr>
          <p:cNvPr id="99" name="図形グループ 98"/>
          <p:cNvGrpSpPr/>
          <p:nvPr/>
        </p:nvGrpSpPr>
        <p:grpSpPr>
          <a:xfrm>
            <a:off x="6150003" y="3205093"/>
            <a:ext cx="296586" cy="293005"/>
            <a:chOff x="4232441" y="3995693"/>
            <a:chExt cx="296586" cy="293005"/>
          </a:xfrm>
        </p:grpSpPr>
        <p:sp>
          <p:nvSpPr>
            <p:cNvPr id="100" name="円/楕円 9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1" name="フリーフォーム 10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2" name="図形グループ 101"/>
          <p:cNvGrpSpPr/>
          <p:nvPr/>
        </p:nvGrpSpPr>
        <p:grpSpPr>
          <a:xfrm>
            <a:off x="3888971" y="5688868"/>
            <a:ext cx="296586" cy="293005"/>
            <a:chOff x="3546641" y="3995693"/>
            <a:chExt cx="296586" cy="293005"/>
          </a:xfrm>
        </p:grpSpPr>
        <p:sp>
          <p:nvSpPr>
            <p:cNvPr id="103" name="円/楕円 10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4" name="フリーフォーム 10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5" name="図形グループ 104"/>
          <p:cNvGrpSpPr/>
          <p:nvPr/>
        </p:nvGrpSpPr>
        <p:grpSpPr>
          <a:xfrm>
            <a:off x="947951" y="5112804"/>
            <a:ext cx="296587" cy="293005"/>
            <a:chOff x="2897417" y="3995693"/>
            <a:chExt cx="296587" cy="293005"/>
          </a:xfrm>
        </p:grpSpPr>
        <p:sp>
          <p:nvSpPr>
            <p:cNvPr id="106" name="円/楕円 10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7" name="テキスト ボックス 10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3E77B952-1F6B-BEAC-FA5D-C28ABAA2702B}"/>
              </a:ext>
            </a:extLst>
          </p:cNvPr>
          <p:cNvSpPr txBox="1"/>
          <p:nvPr/>
        </p:nvSpPr>
        <p:spPr>
          <a:xfrm>
            <a:off x="3496954" y="1929846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履歴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(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時計のマーク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)</a:t>
            </a: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56603E1-AC70-D3DC-7030-FDDBBCA13B96}"/>
              </a:ext>
            </a:extLst>
          </p:cNvPr>
          <p:cNvSpPr txBox="1"/>
          <p:nvPr/>
        </p:nvSpPr>
        <p:spPr>
          <a:xfrm>
            <a:off x="729399" y="1939050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電話」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0DCBDA69-A406-7F73-0184-B567230B15AE}"/>
              </a:ext>
            </a:extLst>
          </p:cNvPr>
          <p:cNvSpPr/>
          <p:nvPr/>
        </p:nvSpPr>
        <p:spPr>
          <a:xfrm>
            <a:off x="2843808" y="3356992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5" name="矢印: 右 24">
            <a:extLst>
              <a:ext uri="{FF2B5EF4-FFF2-40B4-BE49-F238E27FC236}">
                <a16:creationId xmlns:a16="http://schemas.microsoft.com/office/drawing/2014/main" id="{32CA8856-D0E0-70A2-84DA-6B82BEB7DB9C}"/>
              </a:ext>
            </a:extLst>
          </p:cNvPr>
          <p:cNvSpPr/>
          <p:nvPr/>
        </p:nvSpPr>
        <p:spPr>
          <a:xfrm>
            <a:off x="5727590" y="3351595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244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98401995-0E2E-E4C1-6C15-012212C41040}"/>
              </a:ext>
            </a:extLst>
          </p:cNvPr>
          <p:cNvGrpSpPr/>
          <p:nvPr/>
        </p:nvGrpSpPr>
        <p:grpSpPr>
          <a:xfrm>
            <a:off x="3551967" y="2710692"/>
            <a:ext cx="2004115" cy="3500742"/>
            <a:chOff x="9357101" y="964327"/>
            <a:chExt cx="3855697" cy="6857999"/>
          </a:xfrm>
        </p:grpSpPr>
        <p:pic>
          <p:nvPicPr>
            <p:cNvPr id="7" name="図 6" descr="グラフィカル ユーザー インターフェイス, テキスト, アプリケーション, メール&#10;&#10;自動的に生成された説明">
              <a:extLst>
                <a:ext uri="{FF2B5EF4-FFF2-40B4-BE49-F238E27FC236}">
                  <a16:creationId xmlns:a16="http://schemas.microsoft.com/office/drawing/2014/main" id="{FADE9538-8419-71BB-F7A0-FE55DEA73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357101" y="964327"/>
              <a:ext cx="3855697" cy="685799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A3BCC614-3684-61A0-54FF-7585B8EC195F}"/>
                </a:ext>
              </a:extLst>
            </p:cNvPr>
            <p:cNvSpPr/>
            <p:nvPr/>
          </p:nvSpPr>
          <p:spPr>
            <a:xfrm>
              <a:off x="9612560" y="989300"/>
              <a:ext cx="407021" cy="1863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3" name="図形グループ 2" descr="「連絡先」画面の画像"/>
          <p:cNvGrpSpPr/>
          <p:nvPr/>
        </p:nvGrpSpPr>
        <p:grpSpPr>
          <a:xfrm>
            <a:off x="972735" y="2710691"/>
            <a:ext cx="1958127" cy="3420000"/>
            <a:chOff x="972735" y="2710691"/>
            <a:chExt cx="1958127" cy="3420000"/>
          </a:xfrm>
        </p:grpSpPr>
        <p:pic>
          <p:nvPicPr>
            <p:cNvPr id="46" name="図 45">
              <a:extLst>
                <a:ext uri="{FF2B5EF4-FFF2-40B4-BE49-F238E27FC236}">
                  <a16:creationId xmlns:a16="http://schemas.microsoft.com/office/drawing/2014/main" id="{A9649E69-45DC-4A64-96DA-B6B7347C2D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1295"/>
            <a:stretch/>
          </p:blipFill>
          <p:spPr>
            <a:xfrm>
              <a:off x="972735" y="2710691"/>
              <a:ext cx="1958127" cy="342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47" name="図 46">
              <a:extLst>
                <a:ext uri="{FF2B5EF4-FFF2-40B4-BE49-F238E27FC236}">
                  <a16:creationId xmlns:a16="http://schemas.microsoft.com/office/drawing/2014/main" id="{B780CC97-EE8C-4E67-A519-1229570A9B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3444" b="57248"/>
            <a:stretch/>
          </p:blipFill>
          <p:spPr>
            <a:xfrm>
              <a:off x="988725" y="3377822"/>
              <a:ext cx="1932071" cy="101550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48" name="図 47">
              <a:extLst>
                <a:ext uri="{FF2B5EF4-FFF2-40B4-BE49-F238E27FC236}">
                  <a16:creationId xmlns:a16="http://schemas.microsoft.com/office/drawing/2014/main" id="{37E2CE0B-2755-4425-9D2E-467E7520D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76240" y="2860463"/>
              <a:ext cx="1943037" cy="53786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52" name="図 51">
              <a:extLst>
                <a:ext uri="{FF2B5EF4-FFF2-40B4-BE49-F238E27FC236}">
                  <a16:creationId xmlns:a16="http://schemas.microsoft.com/office/drawing/2014/main" id="{77BAF789-1F32-4DD6-904A-25CEFF52A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94621" y="5873525"/>
              <a:ext cx="1926185" cy="248540"/>
            </a:xfrm>
            <a:prstGeom prst="rect">
              <a:avLst/>
            </a:prstGeom>
            <a:ln w="9525">
              <a:noFill/>
            </a:ln>
          </p:spPr>
        </p:pic>
      </p:grpSp>
      <p:sp>
        <p:nvSpPr>
          <p:cNvPr id="89" name="object 20">
            <a:extLst>
              <a:ext uri="{FF2B5EF4-FFF2-40B4-BE49-F238E27FC236}">
                <a16:creationId xmlns:a16="http://schemas.microsoft.com/office/drawing/2014/main" id="{8A5D6C7B-8C68-41B1-9867-A187C3D6F7C8}"/>
              </a:ext>
            </a:extLst>
          </p:cNvPr>
          <p:cNvSpPr/>
          <p:nvPr/>
        </p:nvSpPr>
        <p:spPr>
          <a:xfrm>
            <a:off x="6598488" y="4038015"/>
            <a:ext cx="276598" cy="133876"/>
          </a:xfrm>
          <a:custGeom>
            <a:avLst/>
            <a:gdLst/>
            <a:ahLst/>
            <a:cxnLst/>
            <a:rect l="l" t="t" r="r" b="b"/>
            <a:pathLst>
              <a:path w="297814" h="144145">
                <a:moveTo>
                  <a:pt x="4900" y="76869"/>
                </a:moveTo>
                <a:lnTo>
                  <a:pt x="0" y="69260"/>
                </a:lnTo>
                <a:lnTo>
                  <a:pt x="8321" y="65279"/>
                </a:lnTo>
                <a:lnTo>
                  <a:pt x="16020" y="61153"/>
                </a:lnTo>
                <a:lnTo>
                  <a:pt x="48434" y="36340"/>
                </a:lnTo>
                <a:lnTo>
                  <a:pt x="64442" y="17264"/>
                </a:lnTo>
                <a:lnTo>
                  <a:pt x="25929" y="17264"/>
                </a:lnTo>
                <a:lnTo>
                  <a:pt x="23738" y="7143"/>
                </a:lnTo>
                <a:lnTo>
                  <a:pt x="66023" y="7143"/>
                </a:lnTo>
                <a:lnTo>
                  <a:pt x="72288" y="1041"/>
                </a:lnTo>
                <a:lnTo>
                  <a:pt x="80184" y="6399"/>
                </a:lnTo>
                <a:lnTo>
                  <a:pt x="84087" y="10141"/>
                </a:lnTo>
                <a:lnTo>
                  <a:pt x="84087" y="13802"/>
                </a:lnTo>
                <a:lnTo>
                  <a:pt x="83462" y="14839"/>
                </a:lnTo>
                <a:lnTo>
                  <a:pt x="82211" y="15465"/>
                </a:lnTo>
                <a:lnTo>
                  <a:pt x="80649" y="16044"/>
                </a:lnTo>
                <a:lnTo>
                  <a:pt x="78781" y="16044"/>
                </a:lnTo>
                <a:lnTo>
                  <a:pt x="78576" y="16137"/>
                </a:lnTo>
                <a:lnTo>
                  <a:pt x="78581" y="16809"/>
                </a:lnTo>
                <a:lnTo>
                  <a:pt x="79421" y="16809"/>
                </a:lnTo>
                <a:lnTo>
                  <a:pt x="82804" y="20835"/>
                </a:lnTo>
                <a:lnTo>
                  <a:pt x="84856" y="23142"/>
                </a:lnTo>
                <a:lnTo>
                  <a:pt x="73319" y="23142"/>
                </a:lnTo>
                <a:lnTo>
                  <a:pt x="67152" y="31907"/>
                </a:lnTo>
                <a:lnTo>
                  <a:pt x="59896" y="40038"/>
                </a:lnTo>
                <a:lnTo>
                  <a:pt x="51489" y="47579"/>
                </a:lnTo>
                <a:lnTo>
                  <a:pt x="42118" y="54396"/>
                </a:lnTo>
                <a:lnTo>
                  <a:pt x="103524" y="54396"/>
                </a:lnTo>
                <a:lnTo>
                  <a:pt x="104159" y="54837"/>
                </a:lnTo>
                <a:lnTo>
                  <a:pt x="108197" y="58330"/>
                </a:lnTo>
                <a:lnTo>
                  <a:pt x="107691" y="59233"/>
                </a:lnTo>
                <a:lnTo>
                  <a:pt x="37116" y="59233"/>
                </a:lnTo>
                <a:lnTo>
                  <a:pt x="30779" y="63849"/>
                </a:lnTo>
                <a:lnTo>
                  <a:pt x="23297" y="68327"/>
                </a:lnTo>
                <a:lnTo>
                  <a:pt x="14671" y="72667"/>
                </a:lnTo>
                <a:lnTo>
                  <a:pt x="4900" y="76869"/>
                </a:lnTo>
                <a:close/>
              </a:path>
              <a:path w="297814" h="144145">
                <a:moveTo>
                  <a:pt x="104851" y="28277"/>
                </a:moveTo>
                <a:lnTo>
                  <a:pt x="89647" y="28277"/>
                </a:lnTo>
                <a:lnTo>
                  <a:pt x="94388" y="23583"/>
                </a:lnTo>
                <a:lnTo>
                  <a:pt x="99161" y="18371"/>
                </a:lnTo>
                <a:lnTo>
                  <a:pt x="103968" y="12644"/>
                </a:lnTo>
                <a:lnTo>
                  <a:pt x="108809" y="6399"/>
                </a:lnTo>
                <a:lnTo>
                  <a:pt x="117926" y="11093"/>
                </a:lnTo>
                <a:lnTo>
                  <a:pt x="122485" y="14764"/>
                </a:lnTo>
                <a:lnTo>
                  <a:pt x="122485" y="19695"/>
                </a:lnTo>
                <a:lnTo>
                  <a:pt x="120969" y="20612"/>
                </a:lnTo>
                <a:lnTo>
                  <a:pt x="113893" y="20612"/>
                </a:lnTo>
                <a:lnTo>
                  <a:pt x="108615" y="25521"/>
                </a:lnTo>
                <a:lnTo>
                  <a:pt x="104851" y="28277"/>
                </a:lnTo>
                <a:close/>
              </a:path>
              <a:path w="297814" h="144145">
                <a:moveTo>
                  <a:pt x="78581" y="16809"/>
                </a:moveTo>
                <a:lnTo>
                  <a:pt x="78576" y="16137"/>
                </a:lnTo>
                <a:lnTo>
                  <a:pt x="78781" y="16044"/>
                </a:lnTo>
                <a:lnTo>
                  <a:pt x="79222" y="16572"/>
                </a:lnTo>
                <a:lnTo>
                  <a:pt x="78581" y="16809"/>
                </a:lnTo>
                <a:close/>
              </a:path>
              <a:path w="297814" h="144145">
                <a:moveTo>
                  <a:pt x="79222" y="16572"/>
                </a:moveTo>
                <a:lnTo>
                  <a:pt x="78781" y="16044"/>
                </a:lnTo>
                <a:lnTo>
                  <a:pt x="80649" y="16044"/>
                </a:lnTo>
                <a:lnTo>
                  <a:pt x="79222" y="16572"/>
                </a:lnTo>
                <a:close/>
              </a:path>
              <a:path w="297814" h="144145">
                <a:moveTo>
                  <a:pt x="79421" y="16809"/>
                </a:moveTo>
                <a:lnTo>
                  <a:pt x="78581" y="16809"/>
                </a:lnTo>
                <a:lnTo>
                  <a:pt x="79222" y="16572"/>
                </a:lnTo>
                <a:lnTo>
                  <a:pt x="79421" y="16809"/>
                </a:lnTo>
                <a:close/>
              </a:path>
              <a:path w="297814" h="144145">
                <a:moveTo>
                  <a:pt x="34188" y="46508"/>
                </a:moveTo>
                <a:lnTo>
                  <a:pt x="30642" y="46508"/>
                </a:lnTo>
                <a:lnTo>
                  <a:pt x="29186" y="45367"/>
                </a:lnTo>
                <a:lnTo>
                  <a:pt x="28373" y="43085"/>
                </a:lnTo>
                <a:lnTo>
                  <a:pt x="25887" y="38118"/>
                </a:lnTo>
                <a:lnTo>
                  <a:pt x="22079" y="33167"/>
                </a:lnTo>
                <a:lnTo>
                  <a:pt x="16947" y="28232"/>
                </a:lnTo>
                <a:lnTo>
                  <a:pt x="10492" y="23313"/>
                </a:lnTo>
                <a:lnTo>
                  <a:pt x="15619" y="16891"/>
                </a:lnTo>
                <a:lnTo>
                  <a:pt x="41225" y="40531"/>
                </a:lnTo>
                <a:lnTo>
                  <a:pt x="40307" y="42268"/>
                </a:lnTo>
                <a:lnTo>
                  <a:pt x="38471" y="43534"/>
                </a:lnTo>
                <a:lnTo>
                  <a:pt x="36098" y="45517"/>
                </a:lnTo>
                <a:lnTo>
                  <a:pt x="34188" y="46508"/>
                </a:lnTo>
                <a:close/>
              </a:path>
              <a:path w="297814" h="144145">
                <a:moveTo>
                  <a:pt x="120600" y="20835"/>
                </a:moveTo>
                <a:lnTo>
                  <a:pt x="115778" y="20835"/>
                </a:lnTo>
                <a:lnTo>
                  <a:pt x="114800" y="20761"/>
                </a:lnTo>
                <a:lnTo>
                  <a:pt x="113893" y="20612"/>
                </a:lnTo>
                <a:lnTo>
                  <a:pt x="120969" y="20612"/>
                </a:lnTo>
                <a:lnTo>
                  <a:pt x="120600" y="20835"/>
                </a:lnTo>
                <a:close/>
              </a:path>
              <a:path w="297814" h="144145">
                <a:moveTo>
                  <a:pt x="123618" y="42267"/>
                </a:moveTo>
                <a:lnTo>
                  <a:pt x="106411" y="42267"/>
                </a:lnTo>
                <a:lnTo>
                  <a:pt x="111386" y="38048"/>
                </a:lnTo>
                <a:lnTo>
                  <a:pt x="116550" y="33167"/>
                </a:lnTo>
                <a:lnTo>
                  <a:pt x="121609" y="27928"/>
                </a:lnTo>
                <a:lnTo>
                  <a:pt x="126857" y="22026"/>
                </a:lnTo>
                <a:lnTo>
                  <a:pt x="135402" y="27061"/>
                </a:lnTo>
                <a:lnTo>
                  <a:pt x="139674" y="30880"/>
                </a:lnTo>
                <a:lnTo>
                  <a:pt x="139674" y="35668"/>
                </a:lnTo>
                <a:lnTo>
                  <a:pt x="138430" y="36462"/>
                </a:lnTo>
                <a:lnTo>
                  <a:pt x="131513" y="36462"/>
                </a:lnTo>
                <a:lnTo>
                  <a:pt x="126653" y="40396"/>
                </a:lnTo>
                <a:lnTo>
                  <a:pt x="123618" y="42267"/>
                </a:lnTo>
                <a:close/>
              </a:path>
              <a:path w="297814" h="144145">
                <a:moveTo>
                  <a:pt x="137475" y="73520"/>
                </a:moveTo>
                <a:lnTo>
                  <a:pt x="118297" y="63768"/>
                </a:lnTo>
                <a:lnTo>
                  <a:pt x="101211" y="52121"/>
                </a:lnTo>
                <a:lnTo>
                  <a:pt x="86219" y="38579"/>
                </a:lnTo>
                <a:lnTo>
                  <a:pt x="73319" y="23142"/>
                </a:lnTo>
                <a:lnTo>
                  <a:pt x="84856" y="23142"/>
                </a:lnTo>
                <a:lnTo>
                  <a:pt x="85981" y="24406"/>
                </a:lnTo>
                <a:lnTo>
                  <a:pt x="89647" y="28277"/>
                </a:lnTo>
                <a:lnTo>
                  <a:pt x="104851" y="28277"/>
                </a:lnTo>
                <a:lnTo>
                  <a:pt x="102500" y="29998"/>
                </a:lnTo>
                <a:lnTo>
                  <a:pt x="95547" y="34043"/>
                </a:lnTo>
                <a:lnTo>
                  <a:pt x="99282" y="36775"/>
                </a:lnTo>
                <a:lnTo>
                  <a:pt x="102903" y="39517"/>
                </a:lnTo>
                <a:lnTo>
                  <a:pt x="106411" y="42267"/>
                </a:lnTo>
                <a:lnTo>
                  <a:pt x="123618" y="42267"/>
                </a:lnTo>
                <a:lnTo>
                  <a:pt x="120642" y="44101"/>
                </a:lnTo>
                <a:lnTo>
                  <a:pt x="113481" y="47579"/>
                </a:lnTo>
                <a:lnTo>
                  <a:pt x="120362" y="51259"/>
                </a:lnTo>
                <a:lnTo>
                  <a:pt x="128200" y="54952"/>
                </a:lnTo>
                <a:lnTo>
                  <a:pt x="136993" y="58658"/>
                </a:lnTo>
                <a:lnTo>
                  <a:pt x="146744" y="62377"/>
                </a:lnTo>
                <a:lnTo>
                  <a:pt x="143709" y="65507"/>
                </a:lnTo>
                <a:lnTo>
                  <a:pt x="140591" y="69260"/>
                </a:lnTo>
                <a:lnTo>
                  <a:pt x="137475" y="73520"/>
                </a:lnTo>
                <a:close/>
              </a:path>
              <a:path w="297814" h="144145">
                <a:moveTo>
                  <a:pt x="137963" y="36760"/>
                </a:moveTo>
                <a:lnTo>
                  <a:pt x="133671" y="36760"/>
                </a:lnTo>
                <a:lnTo>
                  <a:pt x="132663" y="36661"/>
                </a:lnTo>
                <a:lnTo>
                  <a:pt x="131513" y="36462"/>
                </a:lnTo>
                <a:lnTo>
                  <a:pt x="138430" y="36462"/>
                </a:lnTo>
                <a:lnTo>
                  <a:pt x="137963" y="36760"/>
                </a:lnTo>
                <a:close/>
              </a:path>
              <a:path w="297814" h="144145">
                <a:moveTo>
                  <a:pt x="103524" y="54396"/>
                </a:moveTo>
                <a:lnTo>
                  <a:pt x="88870" y="54396"/>
                </a:lnTo>
                <a:lnTo>
                  <a:pt x="95673" y="49634"/>
                </a:lnTo>
                <a:lnTo>
                  <a:pt x="99984" y="51938"/>
                </a:lnTo>
                <a:lnTo>
                  <a:pt x="103524" y="54396"/>
                </a:lnTo>
                <a:close/>
              </a:path>
              <a:path w="297814" h="144145">
                <a:moveTo>
                  <a:pt x="104895" y="64219"/>
                </a:moveTo>
                <a:lnTo>
                  <a:pt x="38310" y="64219"/>
                </a:lnTo>
                <a:lnTo>
                  <a:pt x="37116" y="59233"/>
                </a:lnTo>
                <a:lnTo>
                  <a:pt x="107691" y="59233"/>
                </a:lnTo>
                <a:lnTo>
                  <a:pt x="104895" y="64219"/>
                </a:lnTo>
                <a:close/>
              </a:path>
              <a:path w="297814" h="144145">
                <a:moveTo>
                  <a:pt x="60572" y="85948"/>
                </a:moveTo>
                <a:lnTo>
                  <a:pt x="47927" y="85948"/>
                </a:lnTo>
                <a:lnTo>
                  <a:pt x="47996" y="64219"/>
                </a:lnTo>
                <a:lnTo>
                  <a:pt x="60647" y="64219"/>
                </a:lnTo>
                <a:lnTo>
                  <a:pt x="60572" y="85948"/>
                </a:lnTo>
                <a:close/>
              </a:path>
              <a:path w="297814" h="144145">
                <a:moveTo>
                  <a:pt x="92942" y="85948"/>
                </a:moveTo>
                <a:lnTo>
                  <a:pt x="80441" y="85948"/>
                </a:lnTo>
                <a:lnTo>
                  <a:pt x="80441" y="64219"/>
                </a:lnTo>
                <a:lnTo>
                  <a:pt x="92942" y="64219"/>
                </a:lnTo>
                <a:lnTo>
                  <a:pt x="92942" y="85948"/>
                </a:lnTo>
                <a:close/>
              </a:path>
              <a:path w="297814" h="144145">
                <a:moveTo>
                  <a:pt x="137394" y="96217"/>
                </a:moveTo>
                <a:lnTo>
                  <a:pt x="7053" y="96217"/>
                </a:lnTo>
                <a:lnTo>
                  <a:pt x="4539" y="85948"/>
                </a:lnTo>
                <a:lnTo>
                  <a:pt x="119532" y="85948"/>
                </a:lnTo>
                <a:lnTo>
                  <a:pt x="127710" y="77985"/>
                </a:lnTo>
                <a:lnTo>
                  <a:pt x="132763" y="81626"/>
                </a:lnTo>
                <a:lnTo>
                  <a:pt x="137123" y="85591"/>
                </a:lnTo>
                <a:lnTo>
                  <a:pt x="140791" y="89881"/>
                </a:lnTo>
                <a:lnTo>
                  <a:pt x="137394" y="96217"/>
                </a:lnTo>
                <a:close/>
              </a:path>
              <a:path w="297814" h="144145">
                <a:moveTo>
                  <a:pt x="7169" y="143916"/>
                </a:moveTo>
                <a:lnTo>
                  <a:pt x="2902" y="135748"/>
                </a:lnTo>
                <a:lnTo>
                  <a:pt x="13323" y="132147"/>
                </a:lnTo>
                <a:lnTo>
                  <a:pt x="22219" y="128080"/>
                </a:lnTo>
                <a:lnTo>
                  <a:pt x="47029" y="96217"/>
                </a:lnTo>
                <a:lnTo>
                  <a:pt x="59669" y="96217"/>
                </a:lnTo>
                <a:lnTo>
                  <a:pt x="35148" y="132920"/>
                </a:lnTo>
                <a:lnTo>
                  <a:pt x="22504" y="139086"/>
                </a:lnTo>
                <a:lnTo>
                  <a:pt x="7169" y="143916"/>
                </a:lnTo>
                <a:close/>
              </a:path>
              <a:path w="297814" h="144145">
                <a:moveTo>
                  <a:pt x="108644" y="140195"/>
                </a:moveTo>
                <a:lnTo>
                  <a:pt x="97891" y="140195"/>
                </a:lnTo>
                <a:lnTo>
                  <a:pt x="91839" y="139873"/>
                </a:lnTo>
                <a:lnTo>
                  <a:pt x="90487" y="139228"/>
                </a:lnTo>
                <a:lnTo>
                  <a:pt x="85159" y="138158"/>
                </a:lnTo>
                <a:lnTo>
                  <a:pt x="82025" y="135916"/>
                </a:lnTo>
                <a:lnTo>
                  <a:pt x="80655" y="131006"/>
                </a:lnTo>
                <a:lnTo>
                  <a:pt x="80441" y="129031"/>
                </a:lnTo>
                <a:lnTo>
                  <a:pt x="80441" y="96217"/>
                </a:lnTo>
                <a:lnTo>
                  <a:pt x="92942" y="96217"/>
                </a:lnTo>
                <a:lnTo>
                  <a:pt x="93011" y="127843"/>
                </a:lnTo>
                <a:lnTo>
                  <a:pt x="95611" y="128239"/>
                </a:lnTo>
                <a:lnTo>
                  <a:pt x="99954" y="128438"/>
                </a:lnTo>
                <a:lnTo>
                  <a:pt x="142022" y="128438"/>
                </a:lnTo>
                <a:lnTo>
                  <a:pt x="141926" y="133108"/>
                </a:lnTo>
                <a:lnTo>
                  <a:pt x="118772" y="140079"/>
                </a:lnTo>
                <a:lnTo>
                  <a:pt x="108644" y="140195"/>
                </a:lnTo>
                <a:close/>
              </a:path>
              <a:path w="297814" h="144145">
                <a:moveTo>
                  <a:pt x="142022" y="128438"/>
                </a:moveTo>
                <a:lnTo>
                  <a:pt x="114394" y="128438"/>
                </a:lnTo>
                <a:lnTo>
                  <a:pt x="119466" y="128080"/>
                </a:lnTo>
                <a:lnTo>
                  <a:pt x="122591" y="126845"/>
                </a:lnTo>
                <a:lnTo>
                  <a:pt x="123611" y="125360"/>
                </a:lnTo>
                <a:lnTo>
                  <a:pt x="125732" y="117977"/>
                </a:lnTo>
                <a:lnTo>
                  <a:pt x="126707" y="111660"/>
                </a:lnTo>
                <a:lnTo>
                  <a:pt x="127239" y="103956"/>
                </a:lnTo>
                <a:lnTo>
                  <a:pt x="135954" y="107212"/>
                </a:lnTo>
                <a:lnTo>
                  <a:pt x="135805" y="110742"/>
                </a:lnTo>
                <a:lnTo>
                  <a:pt x="135730" y="120927"/>
                </a:lnTo>
                <a:lnTo>
                  <a:pt x="136145" y="124070"/>
                </a:lnTo>
                <a:lnTo>
                  <a:pt x="137527" y="126347"/>
                </a:lnTo>
                <a:lnTo>
                  <a:pt x="138451" y="126801"/>
                </a:lnTo>
                <a:lnTo>
                  <a:pt x="142056" y="126801"/>
                </a:lnTo>
                <a:lnTo>
                  <a:pt x="142022" y="128438"/>
                </a:lnTo>
                <a:close/>
              </a:path>
              <a:path w="297814" h="144145">
                <a:moveTo>
                  <a:pt x="281787" y="92496"/>
                </a:moveTo>
                <a:lnTo>
                  <a:pt x="267817" y="92496"/>
                </a:lnTo>
                <a:lnTo>
                  <a:pt x="273940" y="86989"/>
                </a:lnTo>
                <a:lnTo>
                  <a:pt x="281664" y="92377"/>
                </a:lnTo>
                <a:close/>
              </a:path>
              <a:path w="297814" h="144145">
                <a:moveTo>
                  <a:pt x="218479" y="143395"/>
                </a:moveTo>
                <a:lnTo>
                  <a:pt x="205977" y="143395"/>
                </a:lnTo>
                <a:lnTo>
                  <a:pt x="205977" y="88998"/>
                </a:lnTo>
                <a:lnTo>
                  <a:pt x="210622" y="90158"/>
                </a:lnTo>
                <a:lnTo>
                  <a:pt x="214454" y="91324"/>
                </a:lnTo>
                <a:lnTo>
                  <a:pt x="217474" y="92496"/>
                </a:lnTo>
                <a:lnTo>
                  <a:pt x="281787" y="92496"/>
                </a:lnTo>
                <a:lnTo>
                  <a:pt x="285526" y="96122"/>
                </a:lnTo>
                <a:lnTo>
                  <a:pt x="285526" y="99556"/>
                </a:lnTo>
                <a:lnTo>
                  <a:pt x="284760" y="100778"/>
                </a:lnTo>
                <a:lnTo>
                  <a:pt x="282041" y="102765"/>
                </a:lnTo>
                <a:lnTo>
                  <a:pt x="218479" y="102765"/>
                </a:lnTo>
                <a:lnTo>
                  <a:pt x="218479" y="125164"/>
                </a:lnTo>
                <a:lnTo>
                  <a:pt x="280540" y="125164"/>
                </a:lnTo>
                <a:lnTo>
                  <a:pt x="280540" y="135284"/>
                </a:lnTo>
                <a:lnTo>
                  <a:pt x="218479" y="135284"/>
                </a:lnTo>
                <a:lnTo>
                  <a:pt x="218479" y="143395"/>
                </a:lnTo>
                <a:close/>
              </a:path>
              <a:path w="297814" h="144145">
                <a:moveTo>
                  <a:pt x="280540" y="125164"/>
                </a:moveTo>
                <a:lnTo>
                  <a:pt x="268038" y="125164"/>
                </a:lnTo>
                <a:lnTo>
                  <a:pt x="268038" y="102765"/>
                </a:lnTo>
                <a:lnTo>
                  <a:pt x="282041" y="102765"/>
                </a:lnTo>
                <a:lnTo>
                  <a:pt x="280540" y="103863"/>
                </a:lnTo>
                <a:lnTo>
                  <a:pt x="280540" y="125164"/>
                </a:lnTo>
                <a:close/>
              </a:path>
              <a:path w="297814" h="144145">
                <a:moveTo>
                  <a:pt x="280540" y="143395"/>
                </a:moveTo>
                <a:lnTo>
                  <a:pt x="268038" y="143395"/>
                </a:lnTo>
                <a:lnTo>
                  <a:pt x="268038" y="135284"/>
                </a:lnTo>
                <a:lnTo>
                  <a:pt x="280540" y="135284"/>
                </a:lnTo>
                <a:lnTo>
                  <a:pt x="280540" y="143395"/>
                </a:lnTo>
                <a:close/>
              </a:path>
              <a:path w="297814" h="144145">
                <a:moveTo>
                  <a:pt x="157399" y="88626"/>
                </a:moveTo>
                <a:lnTo>
                  <a:pt x="151134" y="83449"/>
                </a:lnTo>
                <a:lnTo>
                  <a:pt x="161603" y="66055"/>
                </a:lnTo>
                <a:lnTo>
                  <a:pt x="170820" y="46349"/>
                </a:lnTo>
                <a:lnTo>
                  <a:pt x="178786" y="24330"/>
                </a:lnTo>
                <a:lnTo>
                  <a:pt x="185502" y="0"/>
                </a:lnTo>
                <a:lnTo>
                  <a:pt x="196920" y="2240"/>
                </a:lnTo>
                <a:lnTo>
                  <a:pt x="202628" y="4919"/>
                </a:lnTo>
                <a:lnTo>
                  <a:pt x="202628" y="10279"/>
                </a:lnTo>
                <a:lnTo>
                  <a:pt x="200339" y="11868"/>
                </a:lnTo>
                <a:lnTo>
                  <a:pt x="195761" y="12805"/>
                </a:lnTo>
                <a:lnTo>
                  <a:pt x="192832" y="22069"/>
                </a:lnTo>
                <a:lnTo>
                  <a:pt x="189750" y="30599"/>
                </a:lnTo>
                <a:lnTo>
                  <a:pt x="186517" y="38392"/>
                </a:lnTo>
                <a:lnTo>
                  <a:pt x="183132" y="45450"/>
                </a:lnTo>
                <a:lnTo>
                  <a:pt x="188540" y="46456"/>
                </a:lnTo>
                <a:lnTo>
                  <a:pt x="191243" y="48149"/>
                </a:lnTo>
                <a:lnTo>
                  <a:pt x="191243" y="52537"/>
                </a:lnTo>
                <a:lnTo>
                  <a:pt x="189259" y="54311"/>
                </a:lnTo>
                <a:lnTo>
                  <a:pt x="185290" y="55849"/>
                </a:lnTo>
                <a:lnTo>
                  <a:pt x="185290" y="62582"/>
                </a:lnTo>
                <a:lnTo>
                  <a:pt x="172789" y="62582"/>
                </a:lnTo>
                <a:lnTo>
                  <a:pt x="169980" y="69196"/>
                </a:lnTo>
                <a:lnTo>
                  <a:pt x="166478" y="75741"/>
                </a:lnTo>
                <a:lnTo>
                  <a:pt x="162285" y="82218"/>
                </a:lnTo>
                <a:lnTo>
                  <a:pt x="157399" y="88626"/>
                </a:lnTo>
                <a:close/>
              </a:path>
              <a:path w="297814" h="144145">
                <a:moveTo>
                  <a:pt x="277094" y="21356"/>
                </a:moveTo>
                <a:lnTo>
                  <a:pt x="211517" y="21356"/>
                </a:lnTo>
                <a:lnTo>
                  <a:pt x="209326" y="11236"/>
                </a:lnTo>
                <a:lnTo>
                  <a:pt x="259146" y="11236"/>
                </a:lnTo>
                <a:lnTo>
                  <a:pt x="266914" y="3497"/>
                </a:lnTo>
                <a:lnTo>
                  <a:pt x="271399" y="6494"/>
                </a:lnTo>
                <a:lnTo>
                  <a:pt x="275749" y="10279"/>
                </a:lnTo>
                <a:lnTo>
                  <a:pt x="279870" y="14749"/>
                </a:lnTo>
                <a:lnTo>
                  <a:pt x="277094" y="21356"/>
                </a:lnTo>
                <a:close/>
              </a:path>
              <a:path w="297814" h="144145">
                <a:moveTo>
                  <a:pt x="294703" y="41522"/>
                </a:moveTo>
                <a:lnTo>
                  <a:pt x="194373" y="41522"/>
                </a:lnTo>
                <a:lnTo>
                  <a:pt x="192285" y="31402"/>
                </a:lnTo>
                <a:lnTo>
                  <a:pt x="275738" y="31402"/>
                </a:lnTo>
                <a:lnTo>
                  <a:pt x="284130" y="22993"/>
                </a:lnTo>
                <a:lnTo>
                  <a:pt x="289381" y="26823"/>
                </a:lnTo>
                <a:lnTo>
                  <a:pt x="293865" y="30859"/>
                </a:lnTo>
                <a:lnTo>
                  <a:pt x="297581" y="35102"/>
                </a:lnTo>
                <a:lnTo>
                  <a:pt x="294703" y="41522"/>
                </a:lnTo>
                <a:close/>
              </a:path>
              <a:path w="297814" h="144145">
                <a:moveTo>
                  <a:pt x="279905" y="61614"/>
                </a:moveTo>
                <a:lnTo>
                  <a:pt x="208616" y="61614"/>
                </a:lnTo>
                <a:lnTo>
                  <a:pt x="206424" y="51494"/>
                </a:lnTo>
                <a:lnTo>
                  <a:pt x="262368" y="51494"/>
                </a:lnTo>
                <a:lnTo>
                  <a:pt x="270288" y="44350"/>
                </a:lnTo>
                <a:lnTo>
                  <a:pt x="274836" y="47394"/>
                </a:lnTo>
                <a:lnTo>
                  <a:pt x="279097" y="51066"/>
                </a:lnTo>
                <a:lnTo>
                  <a:pt x="283070" y="55367"/>
                </a:lnTo>
                <a:lnTo>
                  <a:pt x="279905" y="61614"/>
                </a:lnTo>
                <a:close/>
              </a:path>
              <a:path w="297814" h="144145">
                <a:moveTo>
                  <a:pt x="185290" y="143321"/>
                </a:moveTo>
                <a:lnTo>
                  <a:pt x="172789" y="143321"/>
                </a:lnTo>
                <a:lnTo>
                  <a:pt x="172789" y="62582"/>
                </a:lnTo>
                <a:lnTo>
                  <a:pt x="185290" y="62582"/>
                </a:lnTo>
                <a:lnTo>
                  <a:pt x="185290" y="143321"/>
                </a:lnTo>
                <a:close/>
              </a:path>
              <a:path w="297814" h="144145">
                <a:moveTo>
                  <a:pt x="279746" y="81706"/>
                </a:moveTo>
                <a:lnTo>
                  <a:pt x="208258" y="81706"/>
                </a:lnTo>
                <a:lnTo>
                  <a:pt x="206424" y="71437"/>
                </a:lnTo>
                <a:lnTo>
                  <a:pt x="262532" y="71437"/>
                </a:lnTo>
                <a:lnTo>
                  <a:pt x="270454" y="64144"/>
                </a:lnTo>
                <a:lnTo>
                  <a:pt x="274468" y="66811"/>
                </a:lnTo>
                <a:lnTo>
                  <a:pt x="278673" y="70597"/>
                </a:lnTo>
                <a:lnTo>
                  <a:pt x="283070" y="75503"/>
                </a:lnTo>
                <a:lnTo>
                  <a:pt x="279746" y="81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連絡先からかける</a:t>
            </a:r>
          </a:p>
        </p:txBody>
      </p:sp>
      <p:sp>
        <p:nvSpPr>
          <p:cNvPr id="90" name="object 24">
            <a:extLst>
              <a:ext uri="{FF2B5EF4-FFF2-40B4-BE49-F238E27FC236}">
                <a16:creationId xmlns:a16="http://schemas.microsoft.com/office/drawing/2014/main" id="{E17F2113-A923-4380-BCC0-835BA102BC60}"/>
              </a:ext>
            </a:extLst>
          </p:cNvPr>
          <p:cNvSpPr/>
          <p:nvPr/>
        </p:nvSpPr>
        <p:spPr>
          <a:xfrm>
            <a:off x="6541790" y="3462930"/>
            <a:ext cx="678661" cy="13214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940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から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752110" y="5779434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2" y="1964942"/>
            <a:ext cx="270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相手を押す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3528032" y="4365144"/>
            <a:ext cx="2028050" cy="23563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40987" y="1964942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連絡先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44476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56456" y="1970700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発信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6" name="正方形/長方形 75"/>
          <p:cNvSpPr>
            <a:spLocks noChangeAspect="1"/>
          </p:cNvSpPr>
          <p:nvPr/>
        </p:nvSpPr>
        <p:spPr>
          <a:xfrm>
            <a:off x="6884930" y="3907226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0" name="図形グループ 69"/>
          <p:cNvGrpSpPr/>
          <p:nvPr/>
        </p:nvGrpSpPr>
        <p:grpSpPr>
          <a:xfrm>
            <a:off x="6726067" y="3752535"/>
            <a:ext cx="296586" cy="293005"/>
            <a:chOff x="423244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9" name="図形グループ 78"/>
          <p:cNvGrpSpPr/>
          <p:nvPr/>
        </p:nvGrpSpPr>
        <p:grpSpPr>
          <a:xfrm>
            <a:off x="3388164" y="4530583"/>
            <a:ext cx="296586" cy="293005"/>
            <a:chOff x="3546641" y="3995693"/>
            <a:chExt cx="296586" cy="293005"/>
          </a:xfrm>
        </p:grpSpPr>
        <p:sp>
          <p:nvSpPr>
            <p:cNvPr id="80" name="円/楕円 7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1" name="フリーフォーム 8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2" name="図形グループ 81"/>
          <p:cNvGrpSpPr/>
          <p:nvPr/>
        </p:nvGrpSpPr>
        <p:grpSpPr>
          <a:xfrm>
            <a:off x="1603906" y="5624743"/>
            <a:ext cx="296587" cy="293005"/>
            <a:chOff x="2897417" y="3995693"/>
            <a:chExt cx="296587" cy="293005"/>
          </a:xfrm>
        </p:grpSpPr>
        <p:sp>
          <p:nvSpPr>
            <p:cNvPr id="83" name="円/楕円 8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4" name="テキスト ボックス 8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DE8D2253-430D-8A1E-3363-76B31CD99BDC}"/>
              </a:ext>
            </a:extLst>
          </p:cNvPr>
          <p:cNvGrpSpPr/>
          <p:nvPr/>
        </p:nvGrpSpPr>
        <p:grpSpPr>
          <a:xfrm>
            <a:off x="979141" y="2711501"/>
            <a:ext cx="1929280" cy="90530"/>
            <a:chOff x="9532026" y="2926714"/>
            <a:chExt cx="2004115" cy="95638"/>
          </a:xfrm>
        </p:grpSpPr>
        <p:pic>
          <p:nvPicPr>
            <p:cNvPr id="11" name="図 10" descr="グラフィカル ユーザー インターフェイス, テキスト, アプリケーション, メール&#10;&#10;自動的に生成された説明">
              <a:extLst>
                <a:ext uri="{FF2B5EF4-FFF2-40B4-BE49-F238E27FC236}">
                  <a16:creationId xmlns:a16="http://schemas.microsoft.com/office/drawing/2014/main" id="{3BAF67A5-8A0A-0ED9-0610-681CE17766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97268"/>
            <a:stretch/>
          </p:blipFill>
          <p:spPr>
            <a:xfrm>
              <a:off x="9532026" y="2926714"/>
              <a:ext cx="2004115" cy="95638"/>
            </a:xfrm>
            <a:prstGeom prst="rect">
              <a:avLst/>
            </a:prstGeom>
            <a:ln>
              <a:noFill/>
            </a:ln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E894D36A-50C5-C1B7-34B0-B107D6859C2F}"/>
                </a:ext>
              </a:extLst>
            </p:cNvPr>
            <p:cNvSpPr/>
            <p:nvPr/>
          </p:nvSpPr>
          <p:spPr>
            <a:xfrm>
              <a:off x="9676331" y="2927221"/>
              <a:ext cx="211561" cy="951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352CBDF8-3FFE-9A68-6D25-AB0A7A03E7BD}"/>
              </a:ext>
            </a:extLst>
          </p:cNvPr>
          <p:cNvSpPr/>
          <p:nvPr/>
        </p:nvSpPr>
        <p:spPr>
          <a:xfrm>
            <a:off x="979141" y="2786071"/>
            <a:ext cx="1940136" cy="106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20CBCAF9-8608-2BB0-D285-8D6455574483}"/>
              </a:ext>
            </a:extLst>
          </p:cNvPr>
          <p:cNvGrpSpPr/>
          <p:nvPr/>
        </p:nvGrpSpPr>
        <p:grpSpPr>
          <a:xfrm>
            <a:off x="6380826" y="2710691"/>
            <a:ext cx="1921812" cy="3420000"/>
            <a:chOff x="6380826" y="2710691"/>
            <a:chExt cx="1921812" cy="3420000"/>
          </a:xfrm>
        </p:grpSpPr>
        <p:pic>
          <p:nvPicPr>
            <p:cNvPr id="53" name="図 52" descr="選択した人の連絡先画面の画像">
              <a:extLst>
                <a:ext uri="{FF2B5EF4-FFF2-40B4-BE49-F238E27FC236}">
                  <a16:creationId xmlns:a16="http://schemas.microsoft.com/office/drawing/2014/main" id="{44DF9ABC-E6E1-4E1C-8FD7-9C78BF072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380826" y="2710691"/>
              <a:ext cx="1921812" cy="342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7" name="図 16">
              <a:extLst>
                <a:ext uri="{FF2B5EF4-FFF2-40B4-BE49-F238E27FC236}">
                  <a16:creationId xmlns:a16="http://schemas.microsoft.com/office/drawing/2014/main" id="{618FC82D-02DD-82B1-1D66-89BB4F67E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flipV="1">
              <a:off x="6516216" y="2723440"/>
              <a:ext cx="274128" cy="95131"/>
            </a:xfrm>
            <a:prstGeom prst="rect">
              <a:avLst/>
            </a:prstGeom>
          </p:spPr>
        </p:pic>
        <p:pic>
          <p:nvPicPr>
            <p:cNvPr id="19" name="図 18">
              <a:extLst>
                <a:ext uri="{FF2B5EF4-FFF2-40B4-BE49-F238E27FC236}">
                  <a16:creationId xmlns:a16="http://schemas.microsoft.com/office/drawing/2014/main" id="{CD5E63E9-8662-6B55-A04D-B0077DE6E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804248" y="2723440"/>
              <a:ext cx="78333" cy="73725"/>
            </a:xfrm>
            <a:prstGeom prst="rect">
              <a:avLst/>
            </a:prstGeom>
          </p:spPr>
        </p:pic>
      </p:grpSp>
      <p:sp>
        <p:nvSpPr>
          <p:cNvPr id="22" name="矢印: 右 21">
            <a:extLst>
              <a:ext uri="{FF2B5EF4-FFF2-40B4-BE49-F238E27FC236}">
                <a16:creationId xmlns:a16="http://schemas.microsoft.com/office/drawing/2014/main" id="{54B7C418-30B9-B05C-640F-849D8D01E5F1}"/>
              </a:ext>
            </a:extLst>
          </p:cNvPr>
          <p:cNvSpPr/>
          <p:nvPr/>
        </p:nvSpPr>
        <p:spPr>
          <a:xfrm>
            <a:off x="3059832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7E427513-CE81-68EA-BCA4-9711F6EE41D9}"/>
              </a:ext>
            </a:extLst>
          </p:cNvPr>
          <p:cNvSpPr/>
          <p:nvPr/>
        </p:nvSpPr>
        <p:spPr>
          <a:xfrm>
            <a:off x="5727590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cxnSp>
        <p:nvCxnSpPr>
          <p:cNvPr id="45" name="直線矢印コネクタ 44">
            <a:extLst>
              <a:ext uri="{FF2B5EF4-FFF2-40B4-BE49-F238E27FC236}">
                <a16:creationId xmlns:a16="http://schemas.microsoft.com/office/drawing/2014/main" id="{DAD781FB-47E5-4D7C-8C46-B90258BE9D3E}"/>
              </a:ext>
            </a:extLst>
          </p:cNvPr>
          <p:cNvCxnSpPr>
            <a:cxnSpLocks/>
          </p:cNvCxnSpPr>
          <p:nvPr/>
        </p:nvCxnSpPr>
        <p:spPr>
          <a:xfrm flipV="1">
            <a:off x="9212544" y="4905136"/>
            <a:ext cx="59706" cy="234400"/>
          </a:xfrm>
          <a:prstGeom prst="straightConnector1">
            <a:avLst/>
          </a:prstGeom>
          <a:ln w="127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0039BA6-7D42-6509-9F2F-80F69B3FB79A}"/>
              </a:ext>
            </a:extLst>
          </p:cNvPr>
          <p:cNvSpPr>
            <a:spLocks noChangeAspect="1"/>
          </p:cNvSpPr>
          <p:nvPr/>
        </p:nvSpPr>
        <p:spPr>
          <a:xfrm>
            <a:off x="6872280" y="3947396"/>
            <a:ext cx="444650" cy="357721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67853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7E366DC-6490-1FAC-E523-C81DA6B0CE9E}"/>
              </a:ext>
            </a:extLst>
          </p:cNvPr>
          <p:cNvGrpSpPr/>
          <p:nvPr/>
        </p:nvGrpSpPr>
        <p:grpSpPr>
          <a:xfrm>
            <a:off x="6370904" y="2717546"/>
            <a:ext cx="1913062" cy="3420000"/>
            <a:chOff x="6370904" y="2717546"/>
            <a:chExt cx="1913062" cy="3420000"/>
          </a:xfrm>
        </p:grpSpPr>
        <p:pic>
          <p:nvPicPr>
            <p:cNvPr id="75" name="図 74" descr="スリープ中の画面の画像">
              <a:extLst>
                <a:ext uri="{FF2B5EF4-FFF2-40B4-BE49-F238E27FC236}">
                  <a16:creationId xmlns:a16="http://schemas.microsoft.com/office/drawing/2014/main" id="{965BDA23-23FF-4349-B1D9-C28AB85BA3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70904" y="2717546"/>
              <a:ext cx="1913062" cy="3420000"/>
            </a:xfrm>
            <a:prstGeom prst="rect">
              <a:avLst/>
            </a:prstGeom>
          </p:spPr>
        </p:pic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9D8DD918-1499-7054-51C3-1E65118F0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94209" y="2727968"/>
              <a:ext cx="277948" cy="88707"/>
            </a:xfrm>
            <a:prstGeom prst="rect">
              <a:avLst/>
            </a:prstGeom>
          </p:spPr>
        </p:pic>
      </p:grpSp>
      <p:pic>
        <p:nvPicPr>
          <p:cNvPr id="92" name="図 91" descr="画面の上部に着信の表示が出ている画像">
            <a:extLst>
              <a:ext uri="{FF2B5EF4-FFF2-40B4-BE49-F238E27FC236}">
                <a16:creationId xmlns:a16="http://schemas.microsoft.com/office/drawing/2014/main" id="{C3C1348E-5AA1-4E9B-8B63-44DE4E09EE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3333" y="2717546"/>
            <a:ext cx="1913062" cy="342000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en-US" altLang="ja-JP" kern="0" dirty="0"/>
            </a:br>
            <a:r>
              <a:rPr kumimoji="0" lang="ja-JP" altLang="en-US" kern="0" dirty="0"/>
              <a:t>電話の受け方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D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2449312" y="2824149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>
            <a:spLocks noChangeAspect="1"/>
          </p:cNvSpPr>
          <p:nvPr/>
        </p:nvSpPr>
        <p:spPr>
          <a:xfrm>
            <a:off x="7483104" y="4757070"/>
            <a:ext cx="540000" cy="54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34653" y="1402980"/>
            <a:ext cx="270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リープ中にかかって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きたら画面下部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受話器マークを右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ライドして受電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402980"/>
            <a:ext cx="2340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ホを操作中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かかってきたら緑色の受話器マークを</a:t>
            </a: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と受電できま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91395" y="1400673"/>
            <a:ext cx="2520000" cy="157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に出られない時は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ッセージを送信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ショートメール送付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に出たくない時は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源ボタンを２回押す</a:t>
            </a: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208159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51AE08B2-1F63-490C-968E-5D6E6C2D47F9}"/>
              </a:ext>
            </a:extLst>
          </p:cNvPr>
          <p:cNvSpPr txBox="1"/>
          <p:nvPr/>
        </p:nvSpPr>
        <p:spPr>
          <a:xfrm>
            <a:off x="8272983" y="3995755"/>
            <a:ext cx="369332" cy="19440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源ボタ</a:t>
            </a:r>
            <a:r>
              <a:rPr kumimoji="1" lang="ja-JP" altLang="en-US" sz="1200" b="1" spc="-7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ン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回押す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endParaRPr kumimoji="1" lang="ja-JP" altLang="en-US" sz="12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99" name="矢印: 左 26">
            <a:extLst>
              <a:ext uri="{FF2B5EF4-FFF2-40B4-BE49-F238E27FC236}">
                <a16:creationId xmlns:a16="http://schemas.microsoft.com/office/drawing/2014/main" id="{2D694F48-698F-4B34-8CE2-2582F3EB8E87}"/>
              </a:ext>
            </a:extLst>
          </p:cNvPr>
          <p:cNvSpPr/>
          <p:nvPr/>
        </p:nvSpPr>
        <p:spPr>
          <a:xfrm>
            <a:off x="8282880" y="3377952"/>
            <a:ext cx="244411" cy="228600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1" name="図形グループ 40"/>
          <p:cNvGrpSpPr/>
          <p:nvPr/>
        </p:nvGrpSpPr>
        <p:grpSpPr>
          <a:xfrm>
            <a:off x="8307862" y="3660790"/>
            <a:ext cx="296586" cy="293005"/>
            <a:chOff x="510112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331282" y="4599804"/>
            <a:ext cx="296586" cy="293005"/>
            <a:chOff x="423244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2299276" y="2668444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テキスト ボックス 5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6ECC6FFE-2EC1-08E0-205C-08E21496F106}"/>
              </a:ext>
            </a:extLst>
          </p:cNvPr>
          <p:cNvGrpSpPr/>
          <p:nvPr/>
        </p:nvGrpSpPr>
        <p:grpSpPr>
          <a:xfrm>
            <a:off x="3629324" y="2717546"/>
            <a:ext cx="1913062" cy="3519766"/>
            <a:chOff x="3629324" y="2717546"/>
            <a:chExt cx="1913062" cy="3519766"/>
          </a:xfrm>
        </p:grpSpPr>
        <p:grpSp>
          <p:nvGrpSpPr>
            <p:cNvPr id="3" name="グループ化 2" descr="スリープ中の画面に着信表示が出ており、受話器のアイコンを左から右へ指でスライドしている画像">
              <a:extLst>
                <a:ext uri="{FF2B5EF4-FFF2-40B4-BE49-F238E27FC236}">
                  <a16:creationId xmlns:a16="http://schemas.microsoft.com/office/drawing/2014/main" id="{2153A262-E21E-40FD-AB23-69071D14A5BA}"/>
                </a:ext>
              </a:extLst>
            </p:cNvPr>
            <p:cNvGrpSpPr/>
            <p:nvPr/>
          </p:nvGrpSpPr>
          <p:grpSpPr>
            <a:xfrm>
              <a:off x="3629324" y="2717546"/>
              <a:ext cx="1913062" cy="3519766"/>
              <a:chOff x="3629324" y="2717546"/>
              <a:chExt cx="1913062" cy="3519766"/>
            </a:xfrm>
          </p:grpSpPr>
          <p:pic>
            <p:nvPicPr>
              <p:cNvPr id="95" name="図 94">
                <a:extLst>
                  <a:ext uri="{FF2B5EF4-FFF2-40B4-BE49-F238E27FC236}">
                    <a16:creationId xmlns:a16="http://schemas.microsoft.com/office/drawing/2014/main" id="{1726867E-2F9F-43A3-98D9-63BE5E6E98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629324" y="2717546"/>
                <a:ext cx="1913062" cy="3420000"/>
              </a:xfrm>
              <a:prstGeom prst="rect">
                <a:avLst/>
              </a:prstGeom>
            </p:spPr>
          </p:pic>
          <p:grpSp>
            <p:nvGrpSpPr>
              <p:cNvPr id="58" name="図形グループ 57">
                <a:extLst>
                  <a:ext uri="{FF2B5EF4-FFF2-40B4-BE49-F238E27FC236}">
                    <a16:creationId xmlns:a16="http://schemas.microsoft.com/office/drawing/2014/main" id="{0D6A8FA0-9940-4C33-9075-5D89393B5CEB}"/>
                  </a:ext>
                </a:extLst>
              </p:cNvPr>
              <p:cNvGrpSpPr/>
              <p:nvPr/>
            </p:nvGrpSpPr>
            <p:grpSpPr>
              <a:xfrm>
                <a:off x="4616825" y="5315988"/>
                <a:ext cx="492443" cy="461665"/>
                <a:chOff x="7516281" y="2673548"/>
                <a:chExt cx="492443" cy="461665"/>
              </a:xfrm>
            </p:grpSpPr>
            <p:sp>
              <p:nvSpPr>
                <p:cNvPr id="60" name="円/楕円 59">
                  <a:extLst>
                    <a:ext uri="{FF2B5EF4-FFF2-40B4-BE49-F238E27FC236}">
                      <a16:creationId xmlns:a16="http://schemas.microsoft.com/office/drawing/2014/main" id="{11E883B8-6DDC-4CC1-8707-39D7A1542B7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627502" y="2734482"/>
                  <a:ext cx="270000" cy="27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62" name="正方形/長方形 61">
                  <a:extLst>
                    <a:ext uri="{FF2B5EF4-FFF2-40B4-BE49-F238E27FC236}">
                      <a16:creationId xmlns:a16="http://schemas.microsoft.com/office/drawing/2014/main" id="{8209E3C3-E98E-4C55-8189-B9952DF419BD}"/>
                    </a:ext>
                  </a:extLst>
                </p:cNvPr>
                <p:cNvSpPr/>
                <p:nvPr/>
              </p:nvSpPr>
              <p:spPr>
                <a:xfrm>
                  <a:off x="7516281" y="2673548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ja-JP" altLang="en-US" sz="2400" b="1" dirty="0">
                      <a:solidFill>
                        <a:srgbClr val="009650"/>
                      </a:solidFill>
                      <a:latin typeface="Meiryo" charset="-128"/>
                      <a:ea typeface="Meiryo" charset="-128"/>
                      <a:cs typeface="Meiryo" charset="-128"/>
                    </a:rPr>
                    <a:t>❷</a:t>
                  </a:r>
                  <a:endParaRPr lang="en-US" altLang="ja-JP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endParaRPr>
                </a:p>
              </p:txBody>
            </p:sp>
          </p:grpSp>
          <p:sp>
            <p:nvSpPr>
              <p:cNvPr id="96" name="上矢印 95"/>
              <p:cNvSpPr>
                <a:spLocks noChangeAspect="1"/>
              </p:cNvSpPr>
              <p:nvPr/>
            </p:nvSpPr>
            <p:spPr>
              <a:xfrm rot="5400000">
                <a:off x="4511099" y="4930061"/>
                <a:ext cx="540000" cy="1138278"/>
              </a:xfrm>
              <a:prstGeom prst="upArrow">
                <a:avLst/>
              </a:prstGeom>
              <a:ln>
                <a:noFill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97" name="図 96"/>
              <p:cNvPicPr>
                <a:picLocks noChangeAspect="1"/>
              </p:cNvPicPr>
              <p:nvPr/>
            </p:nvPicPr>
            <p:blipFill>
              <a:blip r:embed="rId1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11960" y="5517232"/>
                <a:ext cx="473301" cy="540000"/>
              </a:xfrm>
              <a:prstGeom prst="rect">
                <a:avLst/>
              </a:prstGeom>
            </p:spPr>
          </p:pic>
          <p:grpSp>
            <p:nvGrpSpPr>
              <p:cNvPr id="47" name="図形グループ 46"/>
              <p:cNvGrpSpPr/>
              <p:nvPr/>
            </p:nvGrpSpPr>
            <p:grpSpPr>
              <a:xfrm>
                <a:off x="4203406" y="5944307"/>
                <a:ext cx="296586" cy="293005"/>
                <a:chOff x="3546641" y="3995693"/>
                <a:chExt cx="296586" cy="293005"/>
              </a:xfrm>
            </p:grpSpPr>
            <p:sp>
              <p:nvSpPr>
                <p:cNvPr id="48" name="円/楕円 47"/>
                <p:cNvSpPr/>
                <p:nvPr/>
              </p:nvSpPr>
              <p:spPr>
                <a:xfrm>
                  <a:off x="3547872" y="3996395"/>
                  <a:ext cx="291600" cy="2916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49" name="フリーフォーム 48"/>
                <p:cNvSpPr/>
                <p:nvPr/>
              </p:nvSpPr>
              <p:spPr>
                <a:xfrm>
                  <a:off x="3546641" y="3995693"/>
                  <a:ext cx="296586" cy="2930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6586" h="293005">
                      <a:moveTo>
                        <a:pt x="143572" y="44927"/>
                      </a:moveTo>
                      <a:cubicBezTo>
                        <a:pt x="124582" y="44927"/>
                        <a:pt x="106024" y="49974"/>
                        <a:pt x="87902" y="60066"/>
                      </a:cubicBezTo>
                      <a:lnTo>
                        <a:pt x="87902" y="96366"/>
                      </a:lnTo>
                      <a:lnTo>
                        <a:pt x="91971" y="96041"/>
                      </a:lnTo>
                      <a:cubicBezTo>
                        <a:pt x="96746" y="92894"/>
                        <a:pt x="103637" y="89855"/>
                        <a:pt x="112644" y="86925"/>
                      </a:cubicBezTo>
                      <a:cubicBezTo>
                        <a:pt x="123279" y="83452"/>
                        <a:pt x="132612" y="81716"/>
                        <a:pt x="140643" y="81716"/>
                      </a:cubicBezTo>
                      <a:cubicBezTo>
                        <a:pt x="157029" y="81716"/>
                        <a:pt x="165222" y="88715"/>
                        <a:pt x="165222" y="102715"/>
                      </a:cubicBezTo>
                      <a:cubicBezTo>
                        <a:pt x="165222" y="111071"/>
                        <a:pt x="162726" y="119427"/>
                        <a:pt x="157734" y="127783"/>
                      </a:cubicBezTo>
                      <a:cubicBezTo>
                        <a:pt x="152960" y="135705"/>
                        <a:pt x="144386" y="146231"/>
                        <a:pt x="132015" y="159362"/>
                      </a:cubicBezTo>
                      <a:cubicBezTo>
                        <a:pt x="120837" y="171083"/>
                        <a:pt x="113675" y="178570"/>
                        <a:pt x="110528" y="181826"/>
                      </a:cubicBezTo>
                      <a:cubicBezTo>
                        <a:pt x="103040" y="189205"/>
                        <a:pt x="94196" y="197182"/>
                        <a:pt x="83995" y="205755"/>
                      </a:cubicBezTo>
                      <a:lnTo>
                        <a:pt x="83995" y="240102"/>
                      </a:lnTo>
                      <a:lnTo>
                        <a:pt x="213568" y="240102"/>
                      </a:lnTo>
                      <a:lnTo>
                        <a:pt x="213568" y="205755"/>
                      </a:lnTo>
                      <a:lnTo>
                        <a:pt x="137224" y="205755"/>
                      </a:lnTo>
                      <a:cubicBezTo>
                        <a:pt x="150681" y="193492"/>
                        <a:pt x="162455" y="182260"/>
                        <a:pt x="172548" y="172059"/>
                      </a:cubicBezTo>
                      <a:cubicBezTo>
                        <a:pt x="185570" y="158928"/>
                        <a:pt x="194523" y="148239"/>
                        <a:pt x="199406" y="139991"/>
                      </a:cubicBezTo>
                      <a:cubicBezTo>
                        <a:pt x="206460" y="128271"/>
                        <a:pt x="209987" y="115412"/>
                        <a:pt x="209987" y="101412"/>
                      </a:cubicBezTo>
                      <a:cubicBezTo>
                        <a:pt x="209987" y="84483"/>
                        <a:pt x="203910" y="70837"/>
                        <a:pt x="191756" y="60473"/>
                      </a:cubicBezTo>
                      <a:cubicBezTo>
                        <a:pt x="179601" y="50109"/>
                        <a:pt x="163540" y="44927"/>
                        <a:pt x="143572" y="44927"/>
                      </a:cubicBezTo>
                      <a:close/>
                      <a:moveTo>
                        <a:pt x="148619" y="0"/>
                      </a:moveTo>
                      <a:cubicBezTo>
                        <a:pt x="189422" y="0"/>
                        <a:pt x="224285" y="14162"/>
                        <a:pt x="253205" y="42486"/>
                      </a:cubicBezTo>
                      <a:cubicBezTo>
                        <a:pt x="282126" y="70810"/>
                        <a:pt x="296586" y="105211"/>
                        <a:pt x="296586" y="145689"/>
                      </a:cubicBezTo>
                      <a:cubicBezTo>
                        <a:pt x="296586" y="186275"/>
                        <a:pt x="282045" y="220975"/>
                        <a:pt x="252961" y="249787"/>
                      </a:cubicBezTo>
                      <a:cubicBezTo>
                        <a:pt x="223878" y="278599"/>
                        <a:pt x="188988" y="293005"/>
                        <a:pt x="148293" y="293005"/>
                      </a:cubicBezTo>
                      <a:cubicBezTo>
                        <a:pt x="107598" y="293005"/>
                        <a:pt x="72709" y="278599"/>
                        <a:pt x="43625" y="249787"/>
                      </a:cubicBezTo>
                      <a:cubicBezTo>
                        <a:pt x="14542" y="220975"/>
                        <a:pt x="0" y="186275"/>
                        <a:pt x="0" y="145689"/>
                      </a:cubicBezTo>
                      <a:cubicBezTo>
                        <a:pt x="0" y="105211"/>
                        <a:pt x="14542" y="70810"/>
                        <a:pt x="43625" y="42486"/>
                      </a:cubicBezTo>
                      <a:cubicBezTo>
                        <a:pt x="72709" y="14162"/>
                        <a:pt x="107706" y="0"/>
                        <a:pt x="148619" y="0"/>
                      </a:cubicBezTo>
                      <a:close/>
                    </a:path>
                  </a:pathLst>
                </a:custGeom>
                <a:solidFill>
                  <a:srgbClr val="0096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</p:grpSp>
        </p:grpSp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1E5BB16D-0663-81D4-D90F-B7D87BF18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61049" y="2729091"/>
              <a:ext cx="277948" cy="88707"/>
            </a:xfrm>
            <a:prstGeom prst="rect">
              <a:avLst/>
            </a:prstGeom>
          </p:spPr>
        </p:pic>
      </p:grpSp>
      <p:sp>
        <p:nvSpPr>
          <p:cNvPr id="17" name="矢印: 右 16">
            <a:extLst>
              <a:ext uri="{FF2B5EF4-FFF2-40B4-BE49-F238E27FC236}">
                <a16:creationId xmlns:a16="http://schemas.microsoft.com/office/drawing/2014/main" id="{93CFC911-FA4A-4652-45A9-6B253846F6A4}"/>
              </a:ext>
            </a:extLst>
          </p:cNvPr>
          <p:cNvSpPr/>
          <p:nvPr/>
        </p:nvSpPr>
        <p:spPr>
          <a:xfrm>
            <a:off x="2987824" y="391931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35DBA925-4AAB-178C-FF3D-88CC4773969D}"/>
              </a:ext>
            </a:extLst>
          </p:cNvPr>
          <p:cNvSpPr/>
          <p:nvPr/>
        </p:nvSpPr>
        <p:spPr>
          <a:xfrm>
            <a:off x="5692460" y="393305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9017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図形グループ 2" descr="「電話」の「着信履歴」画面の画像"/>
          <p:cNvGrpSpPr/>
          <p:nvPr/>
        </p:nvGrpSpPr>
        <p:grpSpPr>
          <a:xfrm>
            <a:off x="3581990" y="2894455"/>
            <a:ext cx="1854106" cy="3240000"/>
            <a:chOff x="3555888" y="2894674"/>
            <a:chExt cx="1854106" cy="3240000"/>
          </a:xfrm>
        </p:grpSpPr>
        <p:pic>
          <p:nvPicPr>
            <p:cNvPr id="74" name="図 73">
              <a:extLst>
                <a:ext uri="{FF2B5EF4-FFF2-40B4-BE49-F238E27FC236}">
                  <a16:creationId xmlns:a16="http://schemas.microsoft.com/office/drawing/2014/main" id="{5CA78132-FA06-46BD-90DC-66C176A304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-1" b="1551"/>
            <a:stretch/>
          </p:blipFill>
          <p:spPr>
            <a:xfrm>
              <a:off x="3555888" y="2894674"/>
              <a:ext cx="1854106" cy="32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75" name="図 74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DDA7AB60-FBBB-46D5-A60C-0C22333E8D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25" b="82971"/>
            <a:stretch/>
          </p:blipFill>
          <p:spPr>
            <a:xfrm>
              <a:off x="3555888" y="3001770"/>
              <a:ext cx="1854106" cy="504792"/>
            </a:xfrm>
            <a:prstGeom prst="rect">
              <a:avLst/>
            </a:prstGeom>
          </p:spPr>
        </p:pic>
        <p:pic>
          <p:nvPicPr>
            <p:cNvPr id="95" name="図 94">
              <a:extLst>
                <a:ext uri="{FF2B5EF4-FFF2-40B4-BE49-F238E27FC236}">
                  <a16:creationId xmlns:a16="http://schemas.microsoft.com/office/drawing/2014/main" id="{41542A9D-F848-4E00-A914-BDF14C433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33198" y="5902173"/>
              <a:ext cx="1762477" cy="232282"/>
            </a:xfrm>
            <a:prstGeom prst="rect">
              <a:avLst/>
            </a:prstGeom>
          </p:spPr>
        </p:pic>
      </p:grpSp>
      <p:pic>
        <p:nvPicPr>
          <p:cNvPr id="17" name="図 16">
            <a:extLst>
              <a:ext uri="{FF2B5EF4-FFF2-40B4-BE49-F238E27FC236}">
                <a16:creationId xmlns:a16="http://schemas.microsoft.com/office/drawing/2014/main" id="{E2C2774F-A1CC-0877-DEF2-8158E321927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403" b="76305"/>
          <a:stretch/>
        </p:blipFill>
        <p:spPr>
          <a:xfrm>
            <a:off x="3592253" y="3453385"/>
            <a:ext cx="1843843" cy="437442"/>
          </a:xfrm>
          <a:prstGeom prst="rect">
            <a:avLst/>
          </a:prstGeom>
          <a:ln w="9525">
            <a:noFill/>
          </a:ln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B1D1555-093A-5228-DCDD-E35BCE7943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3568" y="2898697"/>
            <a:ext cx="1832906" cy="3231955"/>
          </a:xfrm>
          <a:prstGeom prst="rect">
            <a:avLst/>
          </a:prstGeom>
        </p:spPr>
      </p:pic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4D9F750D-15F9-BFF9-03CC-E63A5523C008}"/>
              </a:ext>
            </a:extLst>
          </p:cNvPr>
          <p:cNvGrpSpPr/>
          <p:nvPr/>
        </p:nvGrpSpPr>
        <p:grpSpPr>
          <a:xfrm>
            <a:off x="1255867" y="5659994"/>
            <a:ext cx="113672" cy="276999"/>
            <a:chOff x="-3607734" y="4257413"/>
            <a:chExt cx="113672" cy="276999"/>
          </a:xfrm>
        </p:grpSpPr>
        <p:sp>
          <p:nvSpPr>
            <p:cNvPr id="108" name="楕円 28">
              <a:extLst>
                <a:ext uri="{FF2B5EF4-FFF2-40B4-BE49-F238E27FC236}">
                  <a16:creationId xmlns:a16="http://schemas.microsoft.com/office/drawing/2014/main" id="{136E43F2-889F-4D37-86DF-C429648768F7}"/>
                </a:ext>
              </a:extLst>
            </p:cNvPr>
            <p:cNvSpPr/>
            <p:nvPr/>
          </p:nvSpPr>
          <p:spPr>
            <a:xfrm>
              <a:off x="-3607734" y="4316996"/>
              <a:ext cx="113672" cy="127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9" name="正方形/長方形 108">
              <a:extLst>
                <a:ext uri="{FF2B5EF4-FFF2-40B4-BE49-F238E27FC236}">
                  <a16:creationId xmlns:a16="http://schemas.microsoft.com/office/drawing/2014/main" id="{7E7E2EB1-45A6-441E-A86C-B538466D1EE8}"/>
                </a:ext>
              </a:extLst>
            </p:cNvPr>
            <p:cNvSpPr/>
            <p:nvPr/>
          </p:nvSpPr>
          <p:spPr>
            <a:xfrm flipH="1">
              <a:off x="-3597193" y="4257413"/>
              <a:ext cx="9259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1200" dirty="0">
                  <a:solidFill>
                    <a:srgbClr val="FF0000"/>
                  </a:solidFill>
                  <a:latin typeface="Arial" panose="020B0604020202020204" pitchFamily="34" charset="0"/>
                  <a:ea typeface="Meiryo" charset="-128"/>
                  <a:cs typeface="Arial" panose="020B0604020202020204" pitchFamily="34" charset="0"/>
                </a:rPr>
                <a:t>❶</a:t>
              </a:r>
              <a:endParaRPr lang="en-US" altLang="ja-JP" sz="1200" dirty="0">
                <a:solidFill>
                  <a:srgbClr val="FF0000"/>
                </a:solidFill>
                <a:latin typeface="Arial" panose="020B0604020202020204" pitchFamily="34" charset="0"/>
                <a:ea typeface="Meiryo" charset="-128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197719"/>
            <a:ext cx="6442789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Meiryo"/>
                <a:ea typeface="Meiryo"/>
              </a:rPr>
              <a:t>電話のかけ方</a:t>
            </a:r>
            <a:br>
              <a:rPr lang="en-US" altLang="ja-JP" spc="-150" dirty="0">
                <a:latin typeface="Meiryo"/>
                <a:ea typeface="Meiryo"/>
              </a:rPr>
            </a:br>
            <a:r>
              <a:rPr lang="ja-JP" altLang="en-US" spc="-150" dirty="0">
                <a:latin typeface="Meiryo"/>
                <a:ea typeface="Meiryo"/>
              </a:rPr>
              <a:t>不在着信があった場合のかけ直し方</a:t>
            </a:r>
            <a:endParaRPr kumimoji="0" lang="ja-JP" altLang="en-US" kern="0" spc="-150" dirty="0">
              <a:latin typeface="Meiryo"/>
              <a:ea typeface="Meiryo"/>
            </a:endParaRP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在着信の相手にかけなおす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E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946921" y="5692800"/>
            <a:ext cx="474299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7" y="1939064"/>
            <a:ext cx="16000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履</a:t>
            </a:r>
            <a:r>
              <a:rPr lang="ja-JP" altLang="en-US" sz="1600" b="1" kern="100" spc="-75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歴　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5880" y="186393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08359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55243" y="1939064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在着信があ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アイコンに赤い丸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が付くので押す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85802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電話番号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00794" y="227458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6" name="図形グループ 75"/>
          <p:cNvGrpSpPr/>
          <p:nvPr/>
        </p:nvGrpSpPr>
        <p:grpSpPr>
          <a:xfrm>
            <a:off x="3776242" y="5589240"/>
            <a:ext cx="296586" cy="293005"/>
            <a:chOff x="3546641" y="3995693"/>
            <a:chExt cx="296586" cy="293005"/>
          </a:xfrm>
        </p:grpSpPr>
        <p:sp>
          <p:nvSpPr>
            <p:cNvPr id="79" name="円/楕円 7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0" name="フリーフォーム 7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1" name="図形グループ 80"/>
          <p:cNvGrpSpPr/>
          <p:nvPr/>
        </p:nvGrpSpPr>
        <p:grpSpPr>
          <a:xfrm>
            <a:off x="691447" y="5441980"/>
            <a:ext cx="296587" cy="293005"/>
            <a:chOff x="2897417" y="3995693"/>
            <a:chExt cx="296587" cy="293005"/>
          </a:xfrm>
        </p:grpSpPr>
        <p:sp>
          <p:nvSpPr>
            <p:cNvPr id="82" name="円/楕円 8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3" name="テキスト ボックス 8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2" name="図 11">
            <a:extLst>
              <a:ext uri="{FF2B5EF4-FFF2-40B4-BE49-F238E27FC236}">
                <a16:creationId xmlns:a16="http://schemas.microsoft.com/office/drawing/2014/main" id="{CF1B0287-73C8-E008-936E-F2AB21A6C7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6691" y="2898699"/>
            <a:ext cx="180288" cy="94674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2962AB16-5014-9EF8-AE6D-C7F52CF16F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-6847" b="4888"/>
          <a:stretch/>
        </p:blipFill>
        <p:spPr>
          <a:xfrm>
            <a:off x="4081163" y="5913304"/>
            <a:ext cx="260295" cy="220931"/>
          </a:xfrm>
          <a:prstGeom prst="rect">
            <a:avLst/>
          </a:prstGeom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FC70912B-770B-3FC2-B363-127C04655CF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4252" t="13801" b="78450"/>
          <a:stretch/>
        </p:blipFill>
        <p:spPr>
          <a:xfrm>
            <a:off x="4616072" y="3555270"/>
            <a:ext cx="805705" cy="232282"/>
          </a:xfrm>
          <a:prstGeom prst="rect">
            <a:avLst/>
          </a:prstGeom>
          <a:ln>
            <a:noFill/>
          </a:ln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DDFD9007-9AC6-D5A7-3181-80AE9080E4D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96999" y="2898998"/>
            <a:ext cx="1834303" cy="113524"/>
          </a:xfrm>
          <a:prstGeom prst="rect">
            <a:avLst/>
          </a:prstGeom>
        </p:spPr>
      </p:pic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C0A8BE91-E1CA-4FD2-BDE5-69CBF14EF9A9}"/>
              </a:ext>
            </a:extLst>
          </p:cNvPr>
          <p:cNvSpPr/>
          <p:nvPr/>
        </p:nvSpPr>
        <p:spPr>
          <a:xfrm>
            <a:off x="3594329" y="2979527"/>
            <a:ext cx="17926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7" name="正方形/長方形 76"/>
          <p:cNvSpPr/>
          <p:nvPr/>
        </p:nvSpPr>
        <p:spPr>
          <a:xfrm>
            <a:off x="4460346" y="3021706"/>
            <a:ext cx="504000" cy="24261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4240534" y="2729760"/>
            <a:ext cx="296586" cy="293005"/>
            <a:chOff x="4232441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5" name="正方形/長方形 34"/>
          <p:cNvSpPr/>
          <p:nvPr/>
        </p:nvSpPr>
        <p:spPr>
          <a:xfrm>
            <a:off x="4027497" y="5855341"/>
            <a:ext cx="349192" cy="31948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3" name="図形グループ 2" descr="「電話」の「着信履歴」画面の画像">
            <a:extLst>
              <a:ext uri="{FF2B5EF4-FFF2-40B4-BE49-F238E27FC236}">
                <a16:creationId xmlns:a16="http://schemas.microsoft.com/office/drawing/2014/main" id="{BA20D1A8-E2EB-177C-7C84-1C1CB75997A7}"/>
              </a:ext>
            </a:extLst>
          </p:cNvPr>
          <p:cNvGrpSpPr/>
          <p:nvPr/>
        </p:nvGrpSpPr>
        <p:grpSpPr>
          <a:xfrm>
            <a:off x="6527463" y="2894455"/>
            <a:ext cx="1854106" cy="3240000"/>
            <a:chOff x="3555888" y="2894674"/>
            <a:chExt cx="1854106" cy="3240000"/>
          </a:xfrm>
        </p:grpSpPr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C71DCF51-EAFC-1023-EA6C-DF7936D5AA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-1" b="1551"/>
            <a:stretch/>
          </p:blipFill>
          <p:spPr>
            <a:xfrm>
              <a:off x="3555888" y="2894674"/>
              <a:ext cx="1854106" cy="32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7" name="図 36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FF324644-5438-1B1E-47EF-3D5E89D369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25" b="82971"/>
            <a:stretch/>
          </p:blipFill>
          <p:spPr>
            <a:xfrm>
              <a:off x="3555888" y="3001770"/>
              <a:ext cx="1854106" cy="504792"/>
            </a:xfrm>
            <a:prstGeom prst="rect">
              <a:avLst/>
            </a:prstGeom>
          </p:spPr>
        </p:pic>
        <p:pic>
          <p:nvPicPr>
            <p:cNvPr id="38" name="図 37">
              <a:extLst>
                <a:ext uri="{FF2B5EF4-FFF2-40B4-BE49-F238E27FC236}">
                  <a16:creationId xmlns:a16="http://schemas.microsoft.com/office/drawing/2014/main" id="{1751AD1E-DD88-ABCA-6BF1-4751E25B8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33198" y="5902173"/>
              <a:ext cx="1762477" cy="232282"/>
            </a:xfrm>
            <a:prstGeom prst="rect">
              <a:avLst/>
            </a:prstGeom>
          </p:spPr>
        </p:pic>
      </p:grpSp>
      <p:pic>
        <p:nvPicPr>
          <p:cNvPr id="39" name="図 38">
            <a:extLst>
              <a:ext uri="{FF2B5EF4-FFF2-40B4-BE49-F238E27FC236}">
                <a16:creationId xmlns:a16="http://schemas.microsoft.com/office/drawing/2014/main" id="{38E3FD2F-C50B-8D5C-0D05-FC7990CEF09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403" b="76305"/>
          <a:stretch/>
        </p:blipFill>
        <p:spPr>
          <a:xfrm>
            <a:off x="6537726" y="3453385"/>
            <a:ext cx="1843843" cy="437442"/>
          </a:xfrm>
          <a:prstGeom prst="rect">
            <a:avLst/>
          </a:prstGeom>
          <a:ln w="9525">
            <a:noFill/>
          </a:ln>
        </p:spPr>
      </p:pic>
      <p:pic>
        <p:nvPicPr>
          <p:cNvPr id="40" name="図 39">
            <a:extLst>
              <a:ext uri="{FF2B5EF4-FFF2-40B4-BE49-F238E27FC236}">
                <a16:creationId xmlns:a16="http://schemas.microsoft.com/office/drawing/2014/main" id="{5A465CD9-CD09-665D-615F-376F1EBC5A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4252" t="13801" b="78450"/>
          <a:stretch/>
        </p:blipFill>
        <p:spPr>
          <a:xfrm>
            <a:off x="7561545" y="3555270"/>
            <a:ext cx="805705" cy="232282"/>
          </a:xfrm>
          <a:prstGeom prst="rect">
            <a:avLst/>
          </a:prstGeom>
          <a:ln>
            <a:noFill/>
          </a:ln>
        </p:spPr>
      </p:pic>
      <p:pic>
        <p:nvPicPr>
          <p:cNvPr id="41" name="図 40">
            <a:extLst>
              <a:ext uri="{FF2B5EF4-FFF2-40B4-BE49-F238E27FC236}">
                <a16:creationId xmlns:a16="http://schemas.microsoft.com/office/drawing/2014/main" id="{04DBC65E-8196-8136-39A8-B319C1FAC1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42472" y="2898998"/>
            <a:ext cx="1834303" cy="113524"/>
          </a:xfrm>
          <a:prstGeom prst="rect">
            <a:avLst/>
          </a:prstGeom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F533A07E-90BA-4FEB-B8CA-E106CCA90FD0}"/>
              </a:ext>
            </a:extLst>
          </p:cNvPr>
          <p:cNvSpPr txBox="1"/>
          <p:nvPr/>
        </p:nvSpPr>
        <p:spPr>
          <a:xfrm>
            <a:off x="6530116" y="4179678"/>
            <a:ext cx="156274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かった後は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5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と同じです</a:t>
            </a:r>
          </a:p>
        </p:txBody>
      </p:sp>
      <p:sp>
        <p:nvSpPr>
          <p:cNvPr id="88" name="正方形/長方形 87"/>
          <p:cNvSpPr/>
          <p:nvPr/>
        </p:nvSpPr>
        <p:spPr>
          <a:xfrm>
            <a:off x="6516337" y="3467100"/>
            <a:ext cx="1874757" cy="39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1" name="図 100"/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7278361" y="3547855"/>
            <a:ext cx="473301" cy="540000"/>
          </a:xfrm>
          <a:prstGeom prst="rect">
            <a:avLst/>
          </a:prstGeom>
        </p:spPr>
      </p:pic>
      <p:grpSp>
        <p:nvGrpSpPr>
          <p:cNvPr id="61" name="図形グループ 60"/>
          <p:cNvGrpSpPr/>
          <p:nvPr/>
        </p:nvGrpSpPr>
        <p:grpSpPr>
          <a:xfrm>
            <a:off x="6291638" y="3140968"/>
            <a:ext cx="296586" cy="293005"/>
            <a:chOff x="510112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AF1D4CAA-7C00-FE95-2E10-5EA3139EA98F}"/>
              </a:ext>
            </a:extLst>
          </p:cNvPr>
          <p:cNvSpPr txBox="1"/>
          <p:nvPr/>
        </p:nvSpPr>
        <p:spPr>
          <a:xfrm>
            <a:off x="3547967" y="2369924"/>
            <a:ext cx="1946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不在着信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4" name="矢印: 右 43">
            <a:extLst>
              <a:ext uri="{FF2B5EF4-FFF2-40B4-BE49-F238E27FC236}">
                <a16:creationId xmlns:a16="http://schemas.microsoft.com/office/drawing/2014/main" id="{EA212F19-D406-9DF7-9FEA-EFFF20AC61B7}"/>
              </a:ext>
            </a:extLst>
          </p:cNvPr>
          <p:cNvSpPr/>
          <p:nvPr/>
        </p:nvSpPr>
        <p:spPr>
          <a:xfrm>
            <a:off x="2771800" y="391931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5" name="矢印: 右 44">
            <a:extLst>
              <a:ext uri="{FF2B5EF4-FFF2-40B4-BE49-F238E27FC236}">
                <a16:creationId xmlns:a16="http://schemas.microsoft.com/office/drawing/2014/main" id="{722AA3E8-56BF-E37B-06D2-732EA5392A02}"/>
              </a:ext>
            </a:extLst>
          </p:cNvPr>
          <p:cNvSpPr/>
          <p:nvPr/>
        </p:nvSpPr>
        <p:spPr>
          <a:xfrm>
            <a:off x="5692460" y="393305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212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221E737B91CD54B90BF8EA7BB4FF285" ma:contentTypeVersion="12" ma:contentTypeDescription="新しいドキュメントを作成します。" ma:contentTypeScope="" ma:versionID="18373603a9622018b396af1dea0784d3">
  <xsd:schema xmlns:xsd="http://www.w3.org/2001/XMLSchema" xmlns:xs="http://www.w3.org/2001/XMLSchema" xmlns:p="http://schemas.microsoft.com/office/2006/metadata/properties" xmlns:ns2="48eda21e-c3ca-4c84-96af-7a820448060a" xmlns:ns3="991be074-868e-4d92-97d6-e216f9fec143" targetNamespace="http://schemas.microsoft.com/office/2006/metadata/properties" ma:root="true" ma:fieldsID="fcc78517cf5dc4af9bc31ada0941723e" ns2:_="" ns3:_="">
    <xsd:import namespace="48eda21e-c3ca-4c84-96af-7a820448060a"/>
    <xsd:import namespace="991be074-868e-4d92-97d6-e216f9fec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eda21e-c3ca-4c84-96af-7a82044806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be074-868e-4d92-97d6-e216f9fec1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cc2b052-fdc2-451d-923f-407e6a503a39}" ma:internalName="TaxCatchAll" ma:showField="CatchAllData" ma:web="991be074-868e-4d92-97d6-e216f9fec1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8eda21e-c3ca-4c84-96af-7a820448060a">
      <Terms xmlns="http://schemas.microsoft.com/office/infopath/2007/PartnerControls"/>
    </lcf76f155ced4ddcb4097134ff3c332f>
    <TaxCatchAll xmlns="991be074-868e-4d92-97d6-e216f9fec14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A31172-1EAE-4928-805C-8C58C5F389A3}"/>
</file>

<file path=customXml/itemProps2.xml><?xml version="1.0" encoding="utf-8"?>
<ds:datastoreItem xmlns:ds="http://schemas.openxmlformats.org/officeDocument/2006/customXml" ds:itemID="{DF9E89BB-BD4E-420A-B282-DFBC2E5EEED0}">
  <ds:schemaRefs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aa54329d-0235-4571-9ea0-44d69b00d72c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f76e264c-1dae-49a6-9e2d-2d1e2f2d3ceb"/>
    <ds:schemaRef ds:uri="d918bb13-3424-4586-993b-46f0e11e56be"/>
  </ds:schemaRefs>
</ds:datastoreItem>
</file>

<file path=customXml/itemProps3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93</Words>
  <Application>Microsoft Office PowerPoint</Application>
  <PresentationFormat>画面に合わせる (4:3)</PresentationFormat>
  <Paragraphs>331</Paragraphs>
  <Slides>21</Slides>
  <Notes>2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1</vt:i4>
      </vt:variant>
    </vt:vector>
  </HeadingPairs>
  <TitlesOfParts>
    <vt:vector size="38" baseType="lpstr">
      <vt:lpstr>AoyagiKouzanFontT</vt:lpstr>
      <vt:lpstr>BIZ UDゴシック</vt:lpstr>
      <vt:lpstr>HG丸ｺﾞｼｯｸM-PRO</vt:lpstr>
      <vt:lpstr>kiloji</vt:lpstr>
      <vt:lpstr>ＭＳ 明朝</vt:lpstr>
      <vt:lpstr>Schoolbook Uralic</vt:lpstr>
      <vt:lpstr>メイリオ</vt:lpstr>
      <vt:lpstr>メイリオ</vt:lpstr>
      <vt:lpstr>游ゴシック</vt:lpstr>
      <vt:lpstr>游ゴシック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電話のかけ方 電話番号を直接入力してかける</vt:lpstr>
      <vt:lpstr>電話のかけ方 電話番号を直接入力してかける</vt:lpstr>
      <vt:lpstr>電話のかけ方 着信履歴を使ってかける</vt:lpstr>
      <vt:lpstr>電話のかけ方 連絡先からかける</vt:lpstr>
      <vt:lpstr>電話のかけ方 電話の受け方</vt:lpstr>
      <vt:lpstr>電話のかけ方 不在着信があった場合のかけ直し方</vt:lpstr>
      <vt:lpstr>電話のかけ方 新しく連絡先を登録する</vt:lpstr>
      <vt:lpstr>電話のかけ方 着信履歴に残った通話先を登録する</vt:lpstr>
      <vt:lpstr>PowerPoint プレゼンテーション</vt:lpstr>
      <vt:lpstr>カメラの使い方 写真を撮ろう</vt:lpstr>
      <vt:lpstr>カメラの使い方 自撮りをしてみよう</vt:lpstr>
      <vt:lpstr>カメラの使い方 さまざまな操作機能</vt:lpstr>
      <vt:lpstr>カメラの使い方 さまざまな操作機能</vt:lpstr>
      <vt:lpstr>カメラの使い方 撮った写真を見る</vt:lpstr>
      <vt:lpstr>カメラの使い方 写真の削除</vt:lpstr>
      <vt:lpstr>カメラの使い方 QRコードの読み取り</vt:lpstr>
      <vt:lpstr>カメラの使い方 QRコードの読み取り</vt:lpstr>
      <vt:lpstr>カメラの使い方 QRコードの読み取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293</cp:revision>
  <dcterms:created xsi:type="dcterms:W3CDTF">2021-08-16T09:05:36Z</dcterms:created>
  <dcterms:modified xsi:type="dcterms:W3CDTF">2023-06-13T05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F9C429C37184B81A579FB62A73255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</Properties>
</file>